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66.xml" ContentType="application/vnd.ms-office.chartcolorstyle+xml"/>
  <Override PartName="/ppt/charts/colors367.xml" ContentType="application/vnd.ms-office.chartcolorstyle+xml"/>
  <Override PartName="/ppt/charts/colors368.xml" ContentType="application/vnd.ms-office.chartcolorstyle+xml"/>
  <Override PartName="/ppt/charts/colors369.xml" ContentType="application/vnd.ms-office.chartcolorstyle+xml"/>
  <Override PartName="/ppt/charts/colors37.xml" ContentType="application/vnd.ms-office.chartcolorstyle+xml"/>
  <Override PartName="/ppt/charts/colors370.xml" ContentType="application/vnd.ms-office.chartcolorstyle+xml"/>
  <Override PartName="/ppt/charts/colors371.xml" ContentType="application/vnd.ms-office.chartcolorstyle+xml"/>
  <Override PartName="/ppt/charts/colors372.xml" ContentType="application/vnd.ms-office.chartcolorstyle+xml"/>
  <Override PartName="/ppt/charts/colors373.xml" ContentType="application/vnd.ms-office.chartcolorstyle+xml"/>
  <Override PartName="/ppt/charts/colors374.xml" ContentType="application/vnd.ms-office.chartcolorstyle+xml"/>
  <Override PartName="/ppt/charts/colors375.xml" ContentType="application/vnd.ms-office.chartcolorstyle+xml"/>
  <Override PartName="/ppt/charts/colors376.xml" ContentType="application/vnd.ms-office.chartcolorstyle+xml"/>
  <Override PartName="/ppt/charts/colors377.xml" ContentType="application/vnd.ms-office.chartcolorstyle+xml"/>
  <Override PartName="/ppt/charts/colors378.xml" ContentType="application/vnd.ms-office.chartcolorstyle+xml"/>
  <Override PartName="/ppt/charts/colors379.xml" ContentType="application/vnd.ms-office.chartcolorstyle+xml"/>
  <Override PartName="/ppt/charts/colors38.xml" ContentType="application/vnd.ms-office.chartcolorstyle+xml"/>
  <Override PartName="/ppt/charts/colors380.xml" ContentType="application/vnd.ms-office.chartcolorstyle+xml"/>
  <Override PartName="/ppt/charts/colors381.xml" ContentType="application/vnd.ms-office.chartcolorstyle+xml"/>
  <Override PartName="/ppt/charts/colors382.xml" ContentType="application/vnd.ms-office.chartcolorstyle+xml"/>
  <Override PartName="/ppt/charts/colors383.xml" ContentType="application/vnd.ms-office.chartcolorstyle+xml"/>
  <Override PartName="/ppt/charts/colors384.xml" ContentType="application/vnd.ms-office.chartcolorstyle+xml"/>
  <Override PartName="/ppt/charts/colors385.xml" ContentType="application/vnd.ms-office.chartcolorstyle+xml"/>
  <Override PartName="/ppt/charts/colors386.xml" ContentType="application/vnd.ms-office.chartcolorstyle+xml"/>
  <Override PartName="/ppt/charts/colors387.xml" ContentType="application/vnd.ms-office.chartcolorstyle+xml"/>
  <Override PartName="/ppt/charts/colors388.xml" ContentType="application/vnd.ms-office.chartcolorstyle+xml"/>
  <Override PartName="/ppt/charts/colors389.xml" ContentType="application/vnd.ms-office.chartcolorstyle+xml"/>
  <Override PartName="/ppt/charts/colors39.xml" ContentType="application/vnd.ms-office.chartcolorstyle+xml"/>
  <Override PartName="/ppt/charts/colors390.xml" ContentType="application/vnd.ms-office.chartcolorstyle+xml"/>
  <Override PartName="/ppt/charts/colors391.xml" ContentType="application/vnd.ms-office.chartcolorstyle+xml"/>
  <Override PartName="/ppt/charts/colors392.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66.xml" ContentType="application/vnd.ms-office.chartstyle+xml"/>
  <Override PartName="/ppt/charts/style367.xml" ContentType="application/vnd.ms-office.chartstyle+xml"/>
  <Override PartName="/ppt/charts/style368.xml" ContentType="application/vnd.ms-office.chartstyle+xml"/>
  <Override PartName="/ppt/charts/style369.xml" ContentType="application/vnd.ms-office.chartstyle+xml"/>
  <Override PartName="/ppt/charts/style37.xml" ContentType="application/vnd.ms-office.chartstyle+xml"/>
  <Override PartName="/ppt/charts/style370.xml" ContentType="application/vnd.ms-office.chartstyle+xml"/>
  <Override PartName="/ppt/charts/style371.xml" ContentType="application/vnd.ms-office.chartstyle+xml"/>
  <Override PartName="/ppt/charts/style372.xml" ContentType="application/vnd.ms-office.chartstyle+xml"/>
  <Override PartName="/ppt/charts/style373.xml" ContentType="application/vnd.ms-office.chartstyle+xml"/>
  <Override PartName="/ppt/charts/style374.xml" ContentType="application/vnd.ms-office.chartstyle+xml"/>
  <Override PartName="/ppt/charts/style375.xml" ContentType="application/vnd.ms-office.chartstyle+xml"/>
  <Override PartName="/ppt/charts/style376.xml" ContentType="application/vnd.ms-office.chartstyle+xml"/>
  <Override PartName="/ppt/charts/style377.xml" ContentType="application/vnd.ms-office.chartstyle+xml"/>
  <Override PartName="/ppt/charts/style378.xml" ContentType="application/vnd.ms-office.chartstyle+xml"/>
  <Override PartName="/ppt/charts/style379.xml" ContentType="application/vnd.ms-office.chartstyle+xml"/>
  <Override PartName="/ppt/charts/style38.xml" ContentType="application/vnd.ms-office.chartstyle+xml"/>
  <Override PartName="/ppt/charts/style380.xml" ContentType="application/vnd.ms-office.chartstyle+xml"/>
  <Override PartName="/ppt/charts/style381.xml" ContentType="application/vnd.ms-office.chartstyle+xml"/>
  <Override PartName="/ppt/charts/style382.xml" ContentType="application/vnd.ms-office.chartstyle+xml"/>
  <Override PartName="/ppt/charts/style383.xml" ContentType="application/vnd.ms-office.chartstyle+xml"/>
  <Override PartName="/ppt/charts/style384.xml" ContentType="application/vnd.ms-office.chartstyle+xml"/>
  <Override PartName="/ppt/charts/style385.xml" ContentType="application/vnd.ms-office.chartstyle+xml"/>
  <Override PartName="/ppt/charts/style386.xml" ContentType="application/vnd.ms-office.chartstyle+xml"/>
  <Override PartName="/ppt/charts/style387.xml" ContentType="application/vnd.ms-office.chartstyle+xml"/>
  <Override PartName="/ppt/charts/style388.xml" ContentType="application/vnd.ms-office.chartstyle+xml"/>
  <Override PartName="/ppt/charts/style389.xml" ContentType="application/vnd.ms-office.chartstyle+xml"/>
  <Override PartName="/ppt/charts/style39.xml" ContentType="application/vnd.ms-office.chartstyle+xml"/>
  <Override PartName="/ppt/charts/style390.xml" ContentType="application/vnd.ms-office.chartstyle+xml"/>
  <Override PartName="/ppt/charts/style391.xml" ContentType="application/vnd.ms-office.chartstyle+xml"/>
  <Override PartName="/ppt/charts/style392.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9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D4E75039-EC7A-4F40-ABFA-08E5809ED42E}">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Lst>
        </p14:section>
        <p14:section name="Sector Shelf Price/Vol Comparison" id="{91898665-47A9-49DE-B023-51989109A443}">
          <p14:sldIdLst>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Lst>
        </p14:section>
        <p14:section name="Segment Avg Price/Vol Comparison" id="{A2146CBF-F2E7-4D22-97B4-282B46DFA46A}">
          <p14:sldIdLst>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Lst>
        </p14:section>
        <p14:section name="Segment Shelf Price/Vol Comparison" id="{80F697C1-B007-4F25-95DB-1CFBFB7CC8DF}">
          <p14:sldIdLst>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Lst>
        </p14:section>
        <p14:section name="SubSegment Avg Price/Vol Comparison" id="{2FFEFCE6-4381-4B6F-AADD-C4D08C446B2B}">
          <p14:sldIdLst>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Lst>
        </p14:section>
        <p14:section name="SubSegment Shelf Price/Vol Comparison" id="{14858BD6-EB5E-4D43-A320-E1F73DE2E2F6}">
          <p14:sldIdLst>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Lst>
        </p14:section>
        <p14:section name="SubCategory Avg Price/Vol Comparison" id="{65020B7C-1DE6-42D3-8FD0-F327513EF814}">
          <p14:sldIdLst>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Lst>
        </p14:section>
        <p14:section name="SubCategory Shelf Price/Vol Comparison" id="{5C9769CB-A10B-435B-B82D-5249C306CE88}">
          <p14:sldIdLst>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notesMaster" Target="notesMasters/notesMaster1.xml"/><Relationship Id="rId398" Type="http://schemas.openxmlformats.org/officeDocument/2006/relationships/presProps" Target="presProps.xml"/><Relationship Id="rId399" Type="http://schemas.openxmlformats.org/officeDocument/2006/relationships/viewProps" Target="viewProps.xml"/><Relationship Id="rId400" Type="http://schemas.openxmlformats.org/officeDocument/2006/relationships/theme" Target="theme/theme1.xml"/><Relationship Id="rId401" Type="http://schemas.openxmlformats.org/officeDocument/2006/relationships/tableStyles" Target="tableStyles.xml"/><Relationship Id="rId40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microsoft.com/office/2011/relationships/chartStyle" Target="style138.xml"/><Relationship Id="rId2" Type="http://schemas.microsoft.com/office/2011/relationships/chartColorStyle" Target="colors138.xml"/><Relationship Id="rId3"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microsoft.com/office/2011/relationships/chartStyle" Target="style139.xml"/><Relationship Id="rId2" Type="http://schemas.microsoft.com/office/2011/relationships/chartColorStyle" Target="colors139.xml"/><Relationship Id="rId3"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microsoft.com/office/2011/relationships/chartStyle" Target="style154.xml"/><Relationship Id="rId2" Type="http://schemas.microsoft.com/office/2011/relationships/chartColorStyle" Target="colors154.xml"/><Relationship Id="rId3"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microsoft.com/office/2011/relationships/chartStyle" Target="style160.xml"/><Relationship Id="rId2" Type="http://schemas.microsoft.com/office/2011/relationships/chartColorStyle" Target="colors160.xml"/><Relationship Id="rId3"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microsoft.com/office/2011/relationships/chartStyle" Target="style168.xml"/><Relationship Id="rId2" Type="http://schemas.microsoft.com/office/2011/relationships/chartColorStyle" Target="colors168.xml"/><Relationship Id="rId3"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microsoft.com/office/2011/relationships/chartStyle" Target="style183.xml"/><Relationship Id="rId2" Type="http://schemas.microsoft.com/office/2011/relationships/chartColorStyle" Target="colors183.xml"/><Relationship Id="rId3"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microsoft.com/office/2011/relationships/chartStyle" Target="style184.xml"/><Relationship Id="rId2" Type="http://schemas.microsoft.com/office/2011/relationships/chartColorStyle" Target="colors184.xml"/><Relationship Id="rId3"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microsoft.com/office/2011/relationships/chartStyle" Target="style191.xml"/><Relationship Id="rId2" Type="http://schemas.microsoft.com/office/2011/relationships/chartColorStyle" Target="colors191.xml"/><Relationship Id="rId3"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microsoft.com/office/2011/relationships/chartStyle" Target="style192.xml"/><Relationship Id="rId2" Type="http://schemas.microsoft.com/office/2011/relationships/chartColorStyle" Target="colors192.xml"/><Relationship Id="rId3"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microsoft.com/office/2011/relationships/chartStyle" Target="style194.xml"/><Relationship Id="rId2" Type="http://schemas.microsoft.com/office/2011/relationships/chartColorStyle" Target="colors194.xml"/><Relationship Id="rId3"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microsoft.com/office/2011/relationships/chartStyle" Target="style197.xml"/><Relationship Id="rId2" Type="http://schemas.microsoft.com/office/2011/relationships/chartColorStyle" Target="colors197.xml"/><Relationship Id="rId3"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microsoft.com/office/2011/relationships/chartStyle" Target="style198.xml"/><Relationship Id="rId2" Type="http://schemas.microsoft.com/office/2011/relationships/chartColorStyle" Target="colors198.xml"/><Relationship Id="rId3"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microsoft.com/office/2011/relationships/chartStyle" Target="style199.xml"/><Relationship Id="rId2" Type="http://schemas.microsoft.com/office/2011/relationships/chartColorStyle" Target="colors199.xml"/><Relationship Id="rId3"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202.xml"/><Relationship Id="rId2" Type="http://schemas.microsoft.com/office/2011/relationships/chartColorStyle" Target="colors202.xml"/><Relationship Id="rId3"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microsoft.com/office/2011/relationships/chartStyle" Target="style203.xml"/><Relationship Id="rId2" Type="http://schemas.microsoft.com/office/2011/relationships/chartColorStyle" Target="colors203.xml"/><Relationship Id="rId3"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microsoft.com/office/2011/relationships/chartStyle" Target="style204.xml"/><Relationship Id="rId2" Type="http://schemas.microsoft.com/office/2011/relationships/chartColorStyle" Target="colors204.xml"/><Relationship Id="rId3"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microsoft.com/office/2011/relationships/chartStyle" Target="style206.xml"/><Relationship Id="rId2" Type="http://schemas.microsoft.com/office/2011/relationships/chartColorStyle" Target="colors206.xml"/><Relationship Id="rId3"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microsoft.com/office/2011/relationships/chartStyle" Target="style209.xml"/><Relationship Id="rId2" Type="http://schemas.microsoft.com/office/2011/relationships/chartColorStyle" Target="colors209.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microsoft.com/office/2011/relationships/chartStyle" Target="style210.xml"/><Relationship Id="rId2" Type="http://schemas.microsoft.com/office/2011/relationships/chartColorStyle" Target="colors210.xml"/><Relationship Id="rId3"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microsoft.com/office/2011/relationships/chartStyle" Target="style214.xml"/><Relationship Id="rId2" Type="http://schemas.microsoft.com/office/2011/relationships/chartColorStyle" Target="colors214.xml"/><Relationship Id="rId3"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microsoft.com/office/2011/relationships/chartStyle" Target="style215.xml"/><Relationship Id="rId2" Type="http://schemas.microsoft.com/office/2011/relationships/chartColorStyle" Target="colors215.xml"/><Relationship Id="rId3"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microsoft.com/office/2011/relationships/chartStyle" Target="style216.xml"/><Relationship Id="rId2" Type="http://schemas.microsoft.com/office/2011/relationships/chartColorStyle" Target="colors216.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221.xml"/><Relationship Id="rId2" Type="http://schemas.microsoft.com/office/2011/relationships/chartColorStyle" Target="colors221.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227.xml"/><Relationship Id="rId2" Type="http://schemas.microsoft.com/office/2011/relationships/chartColorStyle" Target="colors227.xml"/><Relationship Id="rId3"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microsoft.com/office/2011/relationships/chartStyle" Target="style228.xml"/><Relationship Id="rId2" Type="http://schemas.microsoft.com/office/2011/relationships/chartColorStyle" Target="colors228.xml"/><Relationship Id="rId3"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microsoft.com/office/2011/relationships/chartStyle" Target="style229.xml"/><Relationship Id="rId2" Type="http://schemas.microsoft.com/office/2011/relationships/chartColorStyle" Target="colors229.xml"/><Relationship Id="rId3"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microsoft.com/office/2011/relationships/chartStyle" Target="style230.xml"/><Relationship Id="rId2" Type="http://schemas.microsoft.com/office/2011/relationships/chartColorStyle" Target="colors230.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237.xml"/><Relationship Id="rId2" Type="http://schemas.microsoft.com/office/2011/relationships/chartColorStyle" Target="colors237.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238.xml"/><Relationship Id="rId2" Type="http://schemas.microsoft.com/office/2011/relationships/chartColorStyle" Target="colors238.xml"/><Relationship Id="rId3"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microsoft.com/office/2011/relationships/chartStyle" Target="style239.xml"/><Relationship Id="rId2" Type="http://schemas.microsoft.com/office/2011/relationships/chartColorStyle" Target="colors239.xml"/><Relationship Id="rId3"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241.xml"/><Relationship Id="rId2" Type="http://schemas.microsoft.com/office/2011/relationships/chartColorStyle" Target="colors241.xml"/><Relationship Id="rId3"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microsoft.com/office/2011/relationships/chartStyle" Target="style242.xml"/><Relationship Id="rId2" Type="http://schemas.microsoft.com/office/2011/relationships/chartColorStyle" Target="colors242.xml"/><Relationship Id="rId3"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microsoft.com/office/2011/relationships/chartStyle" Target="style243.xml"/><Relationship Id="rId2" Type="http://schemas.microsoft.com/office/2011/relationships/chartColorStyle" Target="colors243.xml"/><Relationship Id="rId3"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microsoft.com/office/2011/relationships/chartStyle" Target="style244.xml"/><Relationship Id="rId2" Type="http://schemas.microsoft.com/office/2011/relationships/chartColorStyle" Target="colors244.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microsoft.com/office/2011/relationships/chartStyle" Target="style245.xml"/><Relationship Id="rId2" Type="http://schemas.microsoft.com/office/2011/relationships/chartColorStyle" Target="colors245.xml"/><Relationship Id="rId3"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microsoft.com/office/2011/relationships/chartStyle" Target="style246.xml"/><Relationship Id="rId2" Type="http://schemas.microsoft.com/office/2011/relationships/chartColorStyle" Target="colors246.xml"/><Relationship Id="rId3"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microsoft.com/office/2011/relationships/chartStyle" Target="style247.xml"/><Relationship Id="rId2" Type="http://schemas.microsoft.com/office/2011/relationships/chartColorStyle" Target="colors247.xml"/><Relationship Id="rId3"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249.xml"/><Relationship Id="rId2" Type="http://schemas.microsoft.com/office/2011/relationships/chartColorStyle" Target="colors249.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microsoft.com/office/2011/relationships/chartStyle" Target="style250.xml"/><Relationship Id="rId2" Type="http://schemas.microsoft.com/office/2011/relationships/chartColorStyle" Target="colors250.xml"/><Relationship Id="rId3"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microsoft.com/office/2011/relationships/chartStyle" Target="style251.xml"/><Relationship Id="rId2" Type="http://schemas.microsoft.com/office/2011/relationships/chartColorStyle" Target="colors251.xml"/><Relationship Id="rId3"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microsoft.com/office/2011/relationships/chartStyle" Target="style252.xml"/><Relationship Id="rId2" Type="http://schemas.microsoft.com/office/2011/relationships/chartColorStyle" Target="colors252.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253.xml"/><Relationship Id="rId2" Type="http://schemas.microsoft.com/office/2011/relationships/chartColorStyle" Target="colors253.xml"/><Relationship Id="rId3"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microsoft.com/office/2011/relationships/chartStyle" Target="style254.xml"/><Relationship Id="rId2" Type="http://schemas.microsoft.com/office/2011/relationships/chartColorStyle" Target="colors254.xml"/><Relationship Id="rId3"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microsoft.com/office/2011/relationships/chartStyle" Target="style255.xml"/><Relationship Id="rId2" Type="http://schemas.microsoft.com/office/2011/relationships/chartColorStyle" Target="colors255.xml"/><Relationship Id="rId3"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microsoft.com/office/2011/relationships/chartStyle" Target="style256.xml"/><Relationship Id="rId2" Type="http://schemas.microsoft.com/office/2011/relationships/chartColorStyle" Target="colors256.xml"/><Relationship Id="rId3"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microsoft.com/office/2011/relationships/chartStyle" Target="style257.xml"/><Relationship Id="rId2" Type="http://schemas.microsoft.com/office/2011/relationships/chartColorStyle" Target="colors257.xml"/><Relationship Id="rId3"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microsoft.com/office/2011/relationships/chartStyle" Target="style258.xml"/><Relationship Id="rId2" Type="http://schemas.microsoft.com/office/2011/relationships/chartColorStyle" Target="colors258.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259.xml"/><Relationship Id="rId2" Type="http://schemas.microsoft.com/office/2011/relationships/chartColorStyle" Target="colors259.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260.xml"/><Relationship Id="rId2" Type="http://schemas.microsoft.com/office/2011/relationships/chartColorStyle" Target="colors260.xml"/><Relationship Id="rId3"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microsoft.com/office/2011/relationships/chartStyle" Target="style261.xml"/><Relationship Id="rId2" Type="http://schemas.microsoft.com/office/2011/relationships/chartColorStyle" Target="colors261.xml"/><Relationship Id="rId3"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microsoft.com/office/2011/relationships/chartStyle" Target="style262.xml"/><Relationship Id="rId2" Type="http://schemas.microsoft.com/office/2011/relationships/chartColorStyle" Target="colors262.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microsoft.com/office/2011/relationships/chartStyle" Target="style264.xml"/><Relationship Id="rId2" Type="http://schemas.microsoft.com/office/2011/relationships/chartColorStyle" Target="colors264.xml"/><Relationship Id="rId3"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microsoft.com/office/2011/relationships/chartStyle" Target="style267.xml"/><Relationship Id="rId2" Type="http://schemas.microsoft.com/office/2011/relationships/chartColorStyle" Target="colors267.xml"/><Relationship Id="rId3"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microsoft.com/office/2011/relationships/chartStyle" Target="style268.xml"/><Relationship Id="rId2" Type="http://schemas.microsoft.com/office/2011/relationships/chartColorStyle" Target="colors268.xml"/><Relationship Id="rId3"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microsoft.com/office/2011/relationships/chartStyle" Target="style272.xml"/><Relationship Id="rId2" Type="http://schemas.microsoft.com/office/2011/relationships/chartColorStyle" Target="colors272.xml"/><Relationship Id="rId3"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microsoft.com/office/2011/relationships/chartStyle" Target="style273.xml"/><Relationship Id="rId2" Type="http://schemas.microsoft.com/office/2011/relationships/chartColorStyle" Target="colors273.xml"/><Relationship Id="rId3"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microsoft.com/office/2011/relationships/chartStyle" Target="style274.xml"/><Relationship Id="rId2" Type="http://schemas.microsoft.com/office/2011/relationships/chartColorStyle" Target="colors274.xml"/><Relationship Id="rId3"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microsoft.com/office/2011/relationships/chartStyle" Target="style275.xml"/><Relationship Id="rId2" Type="http://schemas.microsoft.com/office/2011/relationships/chartColorStyle" Target="colors275.xml"/><Relationship Id="rId3"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microsoft.com/office/2011/relationships/chartStyle" Target="style276.xml"/><Relationship Id="rId2" Type="http://schemas.microsoft.com/office/2011/relationships/chartColorStyle" Target="colors276.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microsoft.com/office/2011/relationships/chartStyle" Target="style278.xml"/><Relationship Id="rId2" Type="http://schemas.microsoft.com/office/2011/relationships/chartColorStyle" Target="colors278.xml"/><Relationship Id="rId3"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microsoft.com/office/2011/relationships/chartStyle" Target="style279.xml"/><Relationship Id="rId2" Type="http://schemas.microsoft.com/office/2011/relationships/chartColorStyle" Target="colors279.xml"/><Relationship Id="rId3"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microsoft.com/office/2011/relationships/chartStyle" Target="style280.xml"/><Relationship Id="rId2" Type="http://schemas.microsoft.com/office/2011/relationships/chartColorStyle" Target="colors280.xml"/><Relationship Id="rId3"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microsoft.com/office/2011/relationships/chartStyle" Target="style281.xml"/><Relationship Id="rId2" Type="http://schemas.microsoft.com/office/2011/relationships/chartColorStyle" Target="colors281.xml"/><Relationship Id="rId3"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microsoft.com/office/2011/relationships/chartStyle" Target="style282.xml"/><Relationship Id="rId2" Type="http://schemas.microsoft.com/office/2011/relationships/chartColorStyle" Target="colors282.xml"/><Relationship Id="rId3"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microsoft.com/office/2011/relationships/chartStyle" Target="style283.xml"/><Relationship Id="rId2" Type="http://schemas.microsoft.com/office/2011/relationships/chartColorStyle" Target="colors283.xml"/><Relationship Id="rId3"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microsoft.com/office/2011/relationships/chartStyle" Target="style284.xml"/><Relationship Id="rId2" Type="http://schemas.microsoft.com/office/2011/relationships/chartColorStyle" Target="colors284.xml"/><Relationship Id="rId3"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microsoft.com/office/2011/relationships/chartStyle" Target="style285.xml"/><Relationship Id="rId2" Type="http://schemas.microsoft.com/office/2011/relationships/chartColorStyle" Target="colors285.xml"/><Relationship Id="rId3"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microsoft.com/office/2011/relationships/chartStyle" Target="style286.xml"/><Relationship Id="rId2" Type="http://schemas.microsoft.com/office/2011/relationships/chartColorStyle" Target="colors286.xml"/><Relationship Id="rId3"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microsoft.com/office/2011/relationships/chartStyle" Target="style289.xml"/><Relationship Id="rId2" Type="http://schemas.microsoft.com/office/2011/relationships/chartColorStyle" Target="colors289.xml"/><Relationship Id="rId3"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microsoft.com/office/2011/relationships/chartStyle" Target="style290.xml"/><Relationship Id="rId2" Type="http://schemas.microsoft.com/office/2011/relationships/chartColorStyle" Target="colors290.xml"/><Relationship Id="rId3"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microsoft.com/office/2011/relationships/chartStyle" Target="style293.xml"/><Relationship Id="rId2" Type="http://schemas.microsoft.com/office/2011/relationships/chartColorStyle" Target="colors293.xml"/><Relationship Id="rId3"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microsoft.com/office/2011/relationships/chartStyle" Target="style294.xml"/><Relationship Id="rId2" Type="http://schemas.microsoft.com/office/2011/relationships/chartColorStyle" Target="colors294.xml"/><Relationship Id="rId3"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microsoft.com/office/2011/relationships/chartStyle" Target="style295.xml"/><Relationship Id="rId2" Type="http://schemas.microsoft.com/office/2011/relationships/chartColorStyle" Target="colors295.xml"/><Relationship Id="rId3"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microsoft.com/office/2011/relationships/chartStyle" Target="style296.xml"/><Relationship Id="rId2" Type="http://schemas.microsoft.com/office/2011/relationships/chartColorStyle" Target="colors296.xml"/><Relationship Id="rId3"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microsoft.com/office/2011/relationships/chartStyle" Target="style297.xml"/><Relationship Id="rId2" Type="http://schemas.microsoft.com/office/2011/relationships/chartColorStyle" Target="colors297.xml"/><Relationship Id="rId3"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microsoft.com/office/2011/relationships/chartStyle" Target="style298.xml"/><Relationship Id="rId2" Type="http://schemas.microsoft.com/office/2011/relationships/chartColorStyle" Target="colors298.xml"/><Relationship Id="rId3"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microsoft.com/office/2011/relationships/chartStyle" Target="style299.xml"/><Relationship Id="rId2" Type="http://schemas.microsoft.com/office/2011/relationships/chartColorStyle" Target="colors299.xml"/><Relationship Id="rId3"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microsoft.com/office/2011/relationships/chartStyle" Target="style300.xml"/><Relationship Id="rId2" Type="http://schemas.microsoft.com/office/2011/relationships/chartColorStyle" Target="colors300.xml"/><Relationship Id="rId3"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microsoft.com/office/2011/relationships/chartStyle" Target="style302.xml"/><Relationship Id="rId2" Type="http://schemas.microsoft.com/office/2011/relationships/chartColorStyle" Target="colors302.xml"/><Relationship Id="rId3"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microsoft.com/office/2011/relationships/chartStyle" Target="style305.xml"/><Relationship Id="rId2" Type="http://schemas.microsoft.com/office/2011/relationships/chartColorStyle" Target="colors305.xml"/><Relationship Id="rId3"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microsoft.com/office/2011/relationships/chartStyle" Target="style306.xml"/><Relationship Id="rId2" Type="http://schemas.microsoft.com/office/2011/relationships/chartColorStyle" Target="colors306.xml"/><Relationship Id="rId3"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microsoft.com/office/2011/relationships/chartStyle" Target="style307.xml"/><Relationship Id="rId2" Type="http://schemas.microsoft.com/office/2011/relationships/chartColorStyle" Target="colors307.xml"/><Relationship Id="rId3"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microsoft.com/office/2011/relationships/chartStyle" Target="style308.xml"/><Relationship Id="rId2" Type="http://schemas.microsoft.com/office/2011/relationships/chartColorStyle" Target="colors308.xml"/><Relationship Id="rId3"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microsoft.com/office/2011/relationships/chartStyle" Target="style309.xml"/><Relationship Id="rId2" Type="http://schemas.microsoft.com/office/2011/relationships/chartColorStyle" Target="colors309.xml"/><Relationship Id="rId3"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microsoft.com/office/2011/relationships/chartStyle" Target="style310.xml"/><Relationship Id="rId2" Type="http://schemas.microsoft.com/office/2011/relationships/chartColorStyle" Target="colors310.xml"/><Relationship Id="rId3"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microsoft.com/office/2011/relationships/chartStyle" Target="style311.xml"/><Relationship Id="rId2" Type="http://schemas.microsoft.com/office/2011/relationships/chartColorStyle" Target="colors311.xml"/><Relationship Id="rId3"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microsoft.com/office/2011/relationships/chartStyle" Target="style312.xml"/><Relationship Id="rId2" Type="http://schemas.microsoft.com/office/2011/relationships/chartColorStyle" Target="colors312.xml"/><Relationship Id="rId3"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microsoft.com/office/2011/relationships/chartStyle" Target="style313.xml"/><Relationship Id="rId2" Type="http://schemas.microsoft.com/office/2011/relationships/chartColorStyle" Target="colors313.xml"/><Relationship Id="rId3"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microsoft.com/office/2011/relationships/chartStyle" Target="style314.xml"/><Relationship Id="rId2" Type="http://schemas.microsoft.com/office/2011/relationships/chartColorStyle" Target="colors314.xml"/><Relationship Id="rId3"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microsoft.com/office/2011/relationships/chartStyle" Target="style315.xml"/><Relationship Id="rId2" Type="http://schemas.microsoft.com/office/2011/relationships/chartColorStyle" Target="colors315.xml"/><Relationship Id="rId3"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microsoft.com/office/2011/relationships/chartStyle" Target="style316.xml"/><Relationship Id="rId2" Type="http://schemas.microsoft.com/office/2011/relationships/chartColorStyle" Target="colors316.xml"/><Relationship Id="rId3"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microsoft.com/office/2011/relationships/chartStyle" Target="style317.xml"/><Relationship Id="rId2" Type="http://schemas.microsoft.com/office/2011/relationships/chartColorStyle" Target="colors317.xml"/><Relationship Id="rId3"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microsoft.com/office/2011/relationships/chartStyle" Target="style319.xml"/><Relationship Id="rId2" Type="http://schemas.microsoft.com/office/2011/relationships/chartColorStyle" Target="colors319.xml"/><Relationship Id="rId3"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microsoft.com/office/2011/relationships/chartStyle" Target="style320.xml"/><Relationship Id="rId2" Type="http://schemas.microsoft.com/office/2011/relationships/chartColorStyle" Target="colors320.xml"/><Relationship Id="rId3"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microsoft.com/office/2011/relationships/chartStyle" Target="style321.xml"/><Relationship Id="rId2" Type="http://schemas.microsoft.com/office/2011/relationships/chartColorStyle" Target="colors321.xml"/><Relationship Id="rId3"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microsoft.com/office/2011/relationships/chartStyle" Target="style322.xml"/><Relationship Id="rId2" Type="http://schemas.microsoft.com/office/2011/relationships/chartColorStyle" Target="colors322.xml"/><Relationship Id="rId3"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microsoft.com/office/2011/relationships/chartStyle" Target="style323.xml"/><Relationship Id="rId2" Type="http://schemas.microsoft.com/office/2011/relationships/chartColorStyle" Target="colors323.xml"/><Relationship Id="rId3"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microsoft.com/office/2011/relationships/chartStyle" Target="style325.xml"/><Relationship Id="rId2" Type="http://schemas.microsoft.com/office/2011/relationships/chartColorStyle" Target="colors325.xml"/><Relationship Id="rId3"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microsoft.com/office/2011/relationships/chartStyle" Target="style326.xml"/><Relationship Id="rId2" Type="http://schemas.microsoft.com/office/2011/relationships/chartColorStyle" Target="colors326.xml"/><Relationship Id="rId3"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microsoft.com/office/2011/relationships/chartStyle" Target="style327.xml"/><Relationship Id="rId2" Type="http://schemas.microsoft.com/office/2011/relationships/chartColorStyle" Target="colors327.xml"/><Relationship Id="rId3"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microsoft.com/office/2011/relationships/chartStyle" Target="style328.xml"/><Relationship Id="rId2" Type="http://schemas.microsoft.com/office/2011/relationships/chartColorStyle" Target="colors328.xml"/><Relationship Id="rId3"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microsoft.com/office/2011/relationships/chartStyle" Target="style329.xml"/><Relationship Id="rId2" Type="http://schemas.microsoft.com/office/2011/relationships/chartColorStyle" Target="colors329.xml"/><Relationship Id="rId3"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microsoft.com/office/2011/relationships/chartStyle" Target="style330.xml"/><Relationship Id="rId2" Type="http://schemas.microsoft.com/office/2011/relationships/chartColorStyle" Target="colors330.xml"/><Relationship Id="rId3"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microsoft.com/office/2011/relationships/chartStyle" Target="style331.xml"/><Relationship Id="rId2" Type="http://schemas.microsoft.com/office/2011/relationships/chartColorStyle" Target="colors331.xml"/><Relationship Id="rId3"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microsoft.com/office/2011/relationships/chartStyle" Target="style332.xml"/><Relationship Id="rId2" Type="http://schemas.microsoft.com/office/2011/relationships/chartColorStyle" Target="colors332.xml"/><Relationship Id="rId3"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microsoft.com/office/2011/relationships/chartStyle" Target="style333.xml"/><Relationship Id="rId2" Type="http://schemas.microsoft.com/office/2011/relationships/chartColorStyle" Target="colors333.xml"/><Relationship Id="rId3"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microsoft.com/office/2011/relationships/chartStyle" Target="style334.xml"/><Relationship Id="rId2" Type="http://schemas.microsoft.com/office/2011/relationships/chartColorStyle" Target="colors334.xml"/><Relationship Id="rId3"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microsoft.com/office/2011/relationships/chartStyle" Target="style335.xml"/><Relationship Id="rId2" Type="http://schemas.microsoft.com/office/2011/relationships/chartColorStyle" Target="colors335.xml"/><Relationship Id="rId3"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microsoft.com/office/2011/relationships/chartStyle" Target="style337.xml"/><Relationship Id="rId2" Type="http://schemas.microsoft.com/office/2011/relationships/chartColorStyle" Target="colors337.xml"/><Relationship Id="rId3"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microsoft.com/office/2011/relationships/chartStyle" Target="style338.xml"/><Relationship Id="rId2" Type="http://schemas.microsoft.com/office/2011/relationships/chartColorStyle" Target="colors338.xml"/><Relationship Id="rId3"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microsoft.com/office/2011/relationships/chartStyle" Target="style339.xml"/><Relationship Id="rId2" Type="http://schemas.microsoft.com/office/2011/relationships/chartColorStyle" Target="colors339.xml"/><Relationship Id="rId3"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microsoft.com/office/2011/relationships/chartStyle" Target="style340.xml"/><Relationship Id="rId2" Type="http://schemas.microsoft.com/office/2011/relationships/chartColorStyle" Target="colors340.xml"/><Relationship Id="rId3"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microsoft.com/office/2011/relationships/chartStyle" Target="style341.xml"/><Relationship Id="rId2" Type="http://schemas.microsoft.com/office/2011/relationships/chartColorStyle" Target="colors341.xml"/><Relationship Id="rId3"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microsoft.com/office/2011/relationships/chartStyle" Target="style342.xml"/><Relationship Id="rId2" Type="http://schemas.microsoft.com/office/2011/relationships/chartColorStyle" Target="colors342.xml"/><Relationship Id="rId3"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microsoft.com/office/2011/relationships/chartStyle" Target="style343.xml"/><Relationship Id="rId2" Type="http://schemas.microsoft.com/office/2011/relationships/chartColorStyle" Target="colors343.xml"/><Relationship Id="rId3"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microsoft.com/office/2011/relationships/chartStyle" Target="style344.xml"/><Relationship Id="rId2" Type="http://schemas.microsoft.com/office/2011/relationships/chartColorStyle" Target="colors344.xml"/><Relationship Id="rId3"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microsoft.com/office/2011/relationships/chartStyle" Target="style346.xml"/><Relationship Id="rId2" Type="http://schemas.microsoft.com/office/2011/relationships/chartColorStyle" Target="colors346.xml"/><Relationship Id="rId3"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microsoft.com/office/2011/relationships/chartStyle" Target="style347.xml"/><Relationship Id="rId2" Type="http://schemas.microsoft.com/office/2011/relationships/chartColorStyle" Target="colors347.xml"/><Relationship Id="rId3"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microsoft.com/office/2011/relationships/chartStyle" Target="style348.xml"/><Relationship Id="rId2" Type="http://schemas.microsoft.com/office/2011/relationships/chartColorStyle" Target="colors348.xml"/><Relationship Id="rId3"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microsoft.com/office/2011/relationships/chartStyle" Target="style349.xml"/><Relationship Id="rId2" Type="http://schemas.microsoft.com/office/2011/relationships/chartColorStyle" Target="colors349.xml"/><Relationship Id="rId3"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microsoft.com/office/2011/relationships/chartStyle" Target="style350.xml"/><Relationship Id="rId2" Type="http://schemas.microsoft.com/office/2011/relationships/chartColorStyle" Target="colors350.xml"/><Relationship Id="rId3"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microsoft.com/office/2011/relationships/chartStyle" Target="style351.xml"/><Relationship Id="rId2" Type="http://schemas.microsoft.com/office/2011/relationships/chartColorStyle" Target="colors351.xml"/><Relationship Id="rId3"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microsoft.com/office/2011/relationships/chartStyle" Target="style352.xml"/><Relationship Id="rId2" Type="http://schemas.microsoft.com/office/2011/relationships/chartColorStyle" Target="colors352.xml"/><Relationship Id="rId3"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microsoft.com/office/2011/relationships/chartStyle" Target="style353.xml"/><Relationship Id="rId2" Type="http://schemas.microsoft.com/office/2011/relationships/chartColorStyle" Target="colors353.xml"/><Relationship Id="rId3"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microsoft.com/office/2011/relationships/chartStyle" Target="style354.xml"/><Relationship Id="rId2" Type="http://schemas.microsoft.com/office/2011/relationships/chartColorStyle" Target="colors354.xml"/><Relationship Id="rId3"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microsoft.com/office/2011/relationships/chartStyle" Target="style355.xml"/><Relationship Id="rId2" Type="http://schemas.microsoft.com/office/2011/relationships/chartColorStyle" Target="colors355.xml"/><Relationship Id="rId3"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microsoft.com/office/2011/relationships/chartStyle" Target="style356.xml"/><Relationship Id="rId2" Type="http://schemas.microsoft.com/office/2011/relationships/chartColorStyle" Target="colors356.xml"/><Relationship Id="rId3"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microsoft.com/office/2011/relationships/chartStyle" Target="style357.xml"/><Relationship Id="rId2" Type="http://schemas.microsoft.com/office/2011/relationships/chartColorStyle" Target="colors357.xml"/><Relationship Id="rId3"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microsoft.com/office/2011/relationships/chartStyle" Target="style358.xml"/><Relationship Id="rId2" Type="http://schemas.microsoft.com/office/2011/relationships/chartColorStyle" Target="colors358.xml"/><Relationship Id="rId3"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microsoft.com/office/2011/relationships/chartStyle" Target="style359.xml"/><Relationship Id="rId2" Type="http://schemas.microsoft.com/office/2011/relationships/chartColorStyle" Target="colors359.xml"/><Relationship Id="rId3"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microsoft.com/office/2011/relationships/chartStyle" Target="style360.xml"/><Relationship Id="rId2" Type="http://schemas.microsoft.com/office/2011/relationships/chartColorStyle" Target="colors360.xml"/><Relationship Id="rId3"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microsoft.com/office/2011/relationships/chartStyle" Target="style361.xml"/><Relationship Id="rId2" Type="http://schemas.microsoft.com/office/2011/relationships/chartColorStyle" Target="colors361.xml"/><Relationship Id="rId3"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microsoft.com/office/2011/relationships/chartStyle" Target="style362.xml"/><Relationship Id="rId2" Type="http://schemas.microsoft.com/office/2011/relationships/chartColorStyle" Target="colors362.xml"/><Relationship Id="rId3"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microsoft.com/office/2011/relationships/chartStyle" Target="style363.xml"/><Relationship Id="rId2" Type="http://schemas.microsoft.com/office/2011/relationships/chartColorStyle" Target="colors363.xml"/><Relationship Id="rId3"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microsoft.com/office/2011/relationships/chartStyle" Target="style364.xml"/><Relationship Id="rId2" Type="http://schemas.microsoft.com/office/2011/relationships/chartColorStyle" Target="colors364.xml"/><Relationship Id="rId3"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microsoft.com/office/2011/relationships/chartStyle" Target="style365.xml"/><Relationship Id="rId2" Type="http://schemas.microsoft.com/office/2011/relationships/chartColorStyle" Target="colors365.xml"/><Relationship Id="rId3"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microsoft.com/office/2011/relationships/chartStyle" Target="style366.xml"/><Relationship Id="rId2" Type="http://schemas.microsoft.com/office/2011/relationships/chartColorStyle" Target="colors366.xml"/><Relationship Id="rId3"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microsoft.com/office/2011/relationships/chartStyle" Target="style367.xml"/><Relationship Id="rId2" Type="http://schemas.microsoft.com/office/2011/relationships/chartColorStyle" Target="colors367.xml"/><Relationship Id="rId3"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microsoft.com/office/2011/relationships/chartStyle" Target="style368.xml"/><Relationship Id="rId2" Type="http://schemas.microsoft.com/office/2011/relationships/chartColorStyle" Target="colors368.xml"/><Relationship Id="rId3"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microsoft.com/office/2011/relationships/chartStyle" Target="style369.xml"/><Relationship Id="rId2" Type="http://schemas.microsoft.com/office/2011/relationships/chartColorStyle" Target="colors369.xml"/><Relationship Id="rId3"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microsoft.com/office/2011/relationships/chartStyle" Target="style370.xml"/><Relationship Id="rId2" Type="http://schemas.microsoft.com/office/2011/relationships/chartColorStyle" Target="colors370.xml"/><Relationship Id="rId3"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microsoft.com/office/2011/relationships/chartStyle" Target="style371.xml"/><Relationship Id="rId2" Type="http://schemas.microsoft.com/office/2011/relationships/chartColorStyle" Target="colors371.xml"/><Relationship Id="rId3"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microsoft.com/office/2011/relationships/chartStyle" Target="style372.xml"/><Relationship Id="rId2" Type="http://schemas.microsoft.com/office/2011/relationships/chartColorStyle" Target="colors372.xml"/><Relationship Id="rId3"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microsoft.com/office/2011/relationships/chartStyle" Target="style373.xml"/><Relationship Id="rId2" Type="http://schemas.microsoft.com/office/2011/relationships/chartColorStyle" Target="colors373.xml"/><Relationship Id="rId3"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microsoft.com/office/2011/relationships/chartStyle" Target="style374.xml"/><Relationship Id="rId2" Type="http://schemas.microsoft.com/office/2011/relationships/chartColorStyle" Target="colors374.xml"/><Relationship Id="rId3"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microsoft.com/office/2011/relationships/chartStyle" Target="style375.xml"/><Relationship Id="rId2" Type="http://schemas.microsoft.com/office/2011/relationships/chartColorStyle" Target="colors375.xml"/><Relationship Id="rId3"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microsoft.com/office/2011/relationships/chartStyle" Target="style376.xml"/><Relationship Id="rId2" Type="http://schemas.microsoft.com/office/2011/relationships/chartColorStyle" Target="colors376.xml"/><Relationship Id="rId3"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microsoft.com/office/2011/relationships/chartStyle" Target="style377.xml"/><Relationship Id="rId2" Type="http://schemas.microsoft.com/office/2011/relationships/chartColorStyle" Target="colors377.xml"/><Relationship Id="rId3"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microsoft.com/office/2011/relationships/chartStyle" Target="style378.xml"/><Relationship Id="rId2" Type="http://schemas.microsoft.com/office/2011/relationships/chartColorStyle" Target="colors378.xml"/><Relationship Id="rId3"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microsoft.com/office/2011/relationships/chartStyle" Target="style379.xml"/><Relationship Id="rId2" Type="http://schemas.microsoft.com/office/2011/relationships/chartColorStyle" Target="colors379.xml"/><Relationship Id="rId3"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microsoft.com/office/2011/relationships/chartStyle" Target="style380.xml"/><Relationship Id="rId2" Type="http://schemas.microsoft.com/office/2011/relationships/chartColorStyle" Target="colors380.xml"/><Relationship Id="rId3"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microsoft.com/office/2011/relationships/chartStyle" Target="style381.xml"/><Relationship Id="rId2" Type="http://schemas.microsoft.com/office/2011/relationships/chartColorStyle" Target="colors381.xml"/><Relationship Id="rId3"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microsoft.com/office/2011/relationships/chartStyle" Target="style382.xml"/><Relationship Id="rId2" Type="http://schemas.microsoft.com/office/2011/relationships/chartColorStyle" Target="colors382.xml"/><Relationship Id="rId3"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microsoft.com/office/2011/relationships/chartStyle" Target="style383.xml"/><Relationship Id="rId2" Type="http://schemas.microsoft.com/office/2011/relationships/chartColorStyle" Target="colors383.xml"/><Relationship Id="rId3"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microsoft.com/office/2011/relationships/chartStyle" Target="style384.xml"/><Relationship Id="rId2" Type="http://schemas.microsoft.com/office/2011/relationships/chartColorStyle" Target="colors384.xml"/><Relationship Id="rId3"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microsoft.com/office/2011/relationships/chartStyle" Target="style385.xml"/><Relationship Id="rId2" Type="http://schemas.microsoft.com/office/2011/relationships/chartColorStyle" Target="colors385.xml"/><Relationship Id="rId3"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microsoft.com/office/2011/relationships/chartStyle" Target="style386.xml"/><Relationship Id="rId2" Type="http://schemas.microsoft.com/office/2011/relationships/chartColorStyle" Target="colors386.xml"/><Relationship Id="rId3"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microsoft.com/office/2011/relationships/chartStyle" Target="style387.xml"/><Relationship Id="rId2" Type="http://schemas.microsoft.com/office/2011/relationships/chartColorStyle" Target="colors387.xml"/><Relationship Id="rId3"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microsoft.com/office/2011/relationships/chartStyle" Target="style388.xml"/><Relationship Id="rId2" Type="http://schemas.microsoft.com/office/2011/relationships/chartColorStyle" Target="colors388.xml"/><Relationship Id="rId3"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microsoft.com/office/2011/relationships/chartStyle" Target="style389.xml"/><Relationship Id="rId2" Type="http://schemas.microsoft.com/office/2011/relationships/chartColorStyle" Target="colors389.xml"/><Relationship Id="rId3"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microsoft.com/office/2011/relationships/chartStyle" Target="style390.xml"/><Relationship Id="rId2" Type="http://schemas.microsoft.com/office/2011/relationships/chartColorStyle" Target="colors390.xml"/><Relationship Id="rId3"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microsoft.com/office/2011/relationships/chartStyle" Target="style391.xml"/><Relationship Id="rId2" Type="http://schemas.microsoft.com/office/2011/relationships/chartColorStyle" Target="colors391.xml"/><Relationship Id="rId3"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microsoft.com/office/2011/relationships/chartStyle" Target="style392.xml"/><Relationship Id="rId2" Type="http://schemas.microsoft.com/office/2011/relationships/chartColorStyle" Target="colors392.xml"/><Relationship Id="rId3" Type="http://schemas.openxmlformats.org/officeDocument/2006/relationships/package" Target="../embeddings/Microsoft_Excel_Worksheet391.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IX 12</c:v>
                </c:pt>
              </c:strCache>
            </c:strRef>
          </c:cat>
          <c:val>
            <c:numRef>
              <c:f>Sheet1!$B$2:$B$5</c:f>
              <c:numCache>
                <c:formatCode>General</c:formatCode>
                <c:ptCount val="4"/>
                <c:pt idx="0">
                  <c:v>1619.42</c:v>
                </c:pt>
                <c:pt idx="1">
                  <c:v>1116.29</c:v>
                </c:pt>
                <c:pt idx="2">
                  <c:v>577.77</c:v>
                </c:pt>
                <c:pt idx="3">
                  <c:v>496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0</a:t>
                    </a:r>
                  </a:p>
                  <a:p>
                    <a:r>
                      <a:t>1236.7</a:t>
                    </a:r>
                  </a:p>
                </c:rich>
              </c:tx>
              <c:dLblPos val="l"/>
              <c:showLegendKey val="0"/>
              <c:showVal val="1"/>
              <c:showCatName val="0"/>
              <c:showSerName val="0"/>
              <c:showPercent val="0"/>
              <c:showBubbleSize val="0"/>
            </c:dLbl>
            <c:dLbl>
              <c:idx val="1"/>
              <c:tx>
                <c:rich>
                  <a:bodyPr/>
                  <a:lstStyle/>
                  <a:p>
                    <a:r>
                      <a:t>IX 100</a:t>
                    </a:r>
                  </a:p>
                  <a:p>
                    <a:r>
                      <a:t>1084.28</a:t>
                    </a:r>
                  </a:p>
                </c:rich>
              </c:tx>
              <c:dLblPos val="l"/>
              <c:showLegendKey val="0"/>
              <c:showVal val="1"/>
              <c:showCatName val="0"/>
              <c:showSerName val="0"/>
              <c:showPercent val="0"/>
              <c:showBubbleSize val="0"/>
            </c:dLbl>
            <c:dLbl>
              <c:idx val="2"/>
              <c:tx>
                <c:rich>
                  <a:bodyPr/>
                  <a:lstStyle/>
                  <a:p>
                    <a:r>
                      <a:t>IX 100</a:t>
                    </a:r>
                  </a:p>
                  <a:p>
                    <a:r>
                      <a:t>545.74</a:t>
                    </a:r>
                  </a:p>
                </c:rich>
              </c:tx>
              <c:dLblPos val="l"/>
              <c:showLegendKey val="0"/>
              <c:showVal val="1"/>
              <c:showCatName val="0"/>
              <c:showSerName val="0"/>
              <c:showPercent val="0"/>
              <c:showBubbleSize val="0"/>
            </c:dLbl>
            <c:dLbl>
              <c:idx val="3"/>
              <c:tx>
                <c:rich>
                  <a:bodyPr/>
                  <a:lstStyle/>
                  <a:p>
                    <a:r>
                      <a:t>IX 12</a:t>
                    </a:r>
                  </a:p>
                  <a:p>
                    <a:r>
                      <a:t>818.4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IX 12</c:v>
                </c:pt>
              </c:strCache>
            </c:strRef>
          </c:cat>
          <c:val>
            <c:numRef>
              <c:f>Sheet1!$C$2:$C$5</c:f>
              <c:numCache>
                <c:formatCode>General</c:formatCode>
                <c:ptCount val="4"/>
                <c:pt idx="0">
                  <c:v>1236.7</c:v>
                </c:pt>
                <c:pt idx="1">
                  <c:v>1084.28</c:v>
                </c:pt>
                <c:pt idx="2">
                  <c:v>545.74</c:v>
                </c:pt>
                <c:pt idx="3">
                  <c:v>818.4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IX 12</c:v>
                </c:pt>
              </c:strCache>
            </c:strRef>
          </c:cat>
          <c:val>
            <c:numRef>
              <c:f>Sheet1!$D$2:$D$5</c:f>
              <c:numCache>
                <c:formatCode>General</c:formatCode>
                <c:ptCount val="4"/>
                <c:pt idx="0">
                  <c:v>1765.3</c:v>
                </c:pt>
                <c:pt idx="1">
                  <c:v>1234.88</c:v>
                </c:pt>
                <c:pt idx="2">
                  <c:v>576.11</c:v>
                </c:pt>
                <c:pt idx="3">
                  <c:v>4612.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IX 12</c:v>
                </c:pt>
              </c:strCache>
            </c:strRef>
          </c:cat>
          <c:val>
            <c:numRef>
              <c:f>Sheet1!$E$2:$E$5</c:f>
              <c:numCache>
                <c:formatCode>General</c:formatCode>
                <c:ptCount val="4"/>
                <c:pt idx="0">
                  <c:v>6669.7</c:v>
                </c:pt>
                <c:pt idx="1">
                  <c:v>4378.39</c:v>
                </c:pt>
                <c:pt idx="2">
                  <c:v>4410.1</c:v>
                </c:pt>
                <c:pt idx="3">
                  <c:v>6920.3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IX 12</c:v>
                </c:pt>
              </c:strCache>
            </c:strRef>
          </c:cat>
          <c:val>
            <c:numRef>
              <c:f>Sheet1!$F$2:$F$5</c:f>
              <c:numCache>
                <c:formatCode>General</c:formatCode>
                <c:ptCount val="4"/>
                <c:pt idx="0">
                  <c:v>6698.8</c:v>
                </c:pt>
                <c:pt idx="3">
                  <c:v>8939.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940.466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B$2:$B$5</c:f>
              <c:numCache>
                <c:formatCode>General</c:formatCode>
                <c:ptCount val="4"/>
                <c:pt idx="0">
                  <c:v>1619.42</c:v>
                </c:pt>
                <c:pt idx="1">
                  <c:v>1116.29</c:v>
                </c:pt>
                <c:pt idx="2">
                  <c:v>577.77</c:v>
                </c:pt>
                <c:pt idx="3">
                  <c:v>496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1</a:t>
                    </a:r>
                  </a:p>
                  <a:p>
                    <a:r>
                      <a:t>4025.5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C$2:$C$5</c:f>
              <c:numCache>
                <c:formatCode>General</c:formatCode>
                <c:ptCount val="4"/>
                <c:pt idx="0">
                  <c:v>4025.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D$2:$D$5</c:f>
              <c:numCache>
                <c:formatCode>General</c:formatCode>
                <c:ptCount val="4"/>
                <c:pt idx="0">
                  <c:v>1668.14</c:v>
                </c:pt>
                <c:pt idx="1">
                  <c:v>1234.88</c:v>
                </c:pt>
                <c:pt idx="2">
                  <c:v>576.11</c:v>
                </c:pt>
                <c:pt idx="3">
                  <c:v>108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E$2:$E$5</c:f>
              <c:numCache>
                <c:formatCode>General</c:formatCode>
                <c:ptCount val="4"/>
                <c:pt idx="0">
                  <c:v>9899.08</c:v>
                </c:pt>
                <c:pt idx="2">
                  <c:v>4410.1</c:v>
                </c:pt>
                <c:pt idx="3">
                  <c:v>11019.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F$2:$F$5</c:f>
              <c:numCache>
                <c:formatCode>General</c:formatCode>
                <c:ptCount val="4"/>
                <c:pt idx="0">
                  <c:v>6699.24</c:v>
                </c:pt>
                <c:pt idx="3">
                  <c:v>8939.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020.20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B$2:$B$4</c:f>
              <c:numCache>
                <c:formatCode>General</c:formatCode>
                <c:ptCount val="3"/>
                <c:pt idx="0">
                  <c:v>2358.94</c:v>
                </c:pt>
                <c:pt idx="1">
                  <c:v>1297.26</c:v>
                </c:pt>
                <c:pt idx="2">
                  <c:v>3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39</a:t>
                    </a:r>
                  </a:p>
                  <a:p>
                    <a:r>
                      <a:t>4864.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C$2:$C$4</c:f>
              <c:numCache>
                <c:formatCode>General</c:formatCode>
                <c:ptCount val="3"/>
                <c:pt idx="0">
                  <c:v>4864.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D$2:$D$4</c:f>
              <c:numCache>
                <c:formatCode>General</c:formatCode>
                <c:ptCount val="3"/>
                <c:pt idx="0">
                  <c:v>2038.02</c:v>
                </c:pt>
                <c:pt idx="1">
                  <c:v>1613.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E$2:$E$4</c:f>
              <c:numCache>
                <c:formatCode>General</c:formatCode>
                <c:ptCount val="3"/>
                <c:pt idx="0">
                  <c:v>7520.08</c:v>
                </c:pt>
                <c:pt idx="2">
                  <c:v>5465.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F$2:$F$4</c:f>
              <c:numCache>
                <c:formatCode>General</c:formatCode>
                <c:ptCount val="3"/>
                <c:pt idx="0">
                  <c:v>10465.46</c:v>
                </c:pt>
                <c:pt idx="1">
                  <c:v>4674.35</c:v>
                </c:pt>
                <c:pt idx="2">
                  <c:v>12659.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296.75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49</c:v>
                </c:pt>
                <c:pt idx="2">
                  <c:v>IX 3</c:v>
                </c:pt>
              </c:strCache>
            </c:strRef>
          </c:cat>
          <c:val>
            <c:numRef>
              <c:f>Sheet1!$B$2:$B$4</c:f>
              <c:numCache>
                <c:formatCode>General</c:formatCode>
                <c:ptCount val="3"/>
                <c:pt idx="0">
                  <c:v>1609.05</c:v>
                </c:pt>
                <c:pt idx="1">
                  <c:v>1203.72</c:v>
                </c:pt>
                <c:pt idx="2">
                  <c:v>2417.6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3</a:t>
                    </a:r>
                  </a:p>
                  <a:p>
                    <a:r>
                      <a:t>1307.11</a:t>
                    </a:r>
                  </a:p>
                </c:rich>
              </c:tx>
              <c:dLblPos val="l"/>
              <c:showLegendKey val="0"/>
              <c:showVal val="1"/>
              <c:showCatName val="0"/>
              <c:showSerName val="0"/>
              <c:showPercent val="0"/>
              <c:showBubbleSize val="0"/>
            </c:dLbl>
            <c:dLbl>
              <c:idx val="1"/>
              <c:tx>
                <c:rich>
                  <a:bodyPr/>
                  <a:lstStyle/>
                  <a:p>
                    <a:r>
                      <a:t>IX 49</a:t>
                    </a:r>
                  </a:p>
                  <a:p>
                    <a:r>
                      <a:t>756.28</a:t>
                    </a:r>
                  </a:p>
                </c:rich>
              </c:tx>
              <c:dLblPos val="l"/>
              <c:showLegendKey val="0"/>
              <c:showVal val="1"/>
              <c:showCatName val="0"/>
              <c:showSerName val="0"/>
              <c:showPercent val="0"/>
              <c:showBubbleSize val="0"/>
            </c:dLbl>
            <c:dLbl>
              <c:idx val="2"/>
              <c:tx>
                <c:rich>
                  <a:bodyPr/>
                  <a:lstStyle/>
                  <a:p>
                    <a:r>
                      <a:t>IX 3</a:t>
                    </a:r>
                  </a:p>
                  <a:p>
                    <a:r>
                      <a:t>1229.1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49</c:v>
                </c:pt>
                <c:pt idx="2">
                  <c:v>IX 3</c:v>
                </c:pt>
              </c:strCache>
            </c:strRef>
          </c:cat>
          <c:val>
            <c:numRef>
              <c:f>Sheet1!$C$2:$C$4</c:f>
              <c:numCache>
                <c:formatCode>General</c:formatCode>
                <c:ptCount val="3"/>
                <c:pt idx="0">
                  <c:v>1307.11</c:v>
                </c:pt>
                <c:pt idx="1">
                  <c:v>756.28</c:v>
                </c:pt>
                <c:pt idx="2">
                  <c:v>1229.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49</c:v>
                </c:pt>
                <c:pt idx="2">
                  <c:v>IX 3</c:v>
                </c:pt>
              </c:strCache>
            </c:strRef>
          </c:cat>
          <c:val>
            <c:numRef>
              <c:f>Sheet1!$D$2:$D$4</c:f>
              <c:numCache>
                <c:formatCode>General</c:formatCode>
                <c:ptCount val="3"/>
                <c:pt idx="0">
                  <c:v>1788.33</c:v>
                </c:pt>
                <c:pt idx="1">
                  <c:v>1549.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49</c:v>
                </c:pt>
                <c:pt idx="2">
                  <c:v>IX 3</c:v>
                </c:pt>
              </c:strCache>
            </c:strRef>
          </c:cat>
          <c:val>
            <c:numRef>
              <c:f>Sheet1!$E$2:$E$4</c:f>
              <c:numCache>
                <c:formatCode>General</c:formatCode>
                <c:ptCount val="3"/>
                <c:pt idx="0">
                  <c:v>7149.1</c:v>
                </c:pt>
                <c:pt idx="2">
                  <c:v>4283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49</c:v>
                </c:pt>
                <c:pt idx="2">
                  <c:v>IX 3</c:v>
                </c:pt>
              </c:strCache>
            </c:strRef>
          </c:cat>
          <c:val>
            <c:numRef>
              <c:f>Sheet1!$F$2:$F$4</c:f>
              <c:numCache>
                <c:formatCode>General</c:formatCode>
                <c:ptCount val="3"/>
                <c:pt idx="2">
                  <c:v>694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838.5"/>
          <c:min val="755.77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86</c:v>
                </c:pt>
                <c:pt idx="2">
                  <c:v>IX 5</c:v>
                </c:pt>
              </c:strCache>
            </c:strRef>
          </c:cat>
          <c:val>
            <c:numRef>
              <c:f>Sheet1!$B$2:$B$4</c:f>
              <c:numCache>
                <c:formatCode>General</c:formatCode>
                <c:ptCount val="3"/>
                <c:pt idx="0">
                  <c:v>1609.05</c:v>
                </c:pt>
                <c:pt idx="1">
                  <c:v>1203.72</c:v>
                </c:pt>
                <c:pt idx="2">
                  <c:v>2417.6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8</a:t>
                    </a:r>
                  </a:p>
                  <a:p>
                    <a:r>
                      <a:t>1400.61</a:t>
                    </a:r>
                  </a:p>
                </c:rich>
              </c:tx>
              <c:dLblPos val="l"/>
              <c:showLegendKey val="0"/>
              <c:showVal val="1"/>
              <c:showCatName val="0"/>
              <c:showSerName val="0"/>
              <c:showPercent val="0"/>
              <c:showBubbleSize val="0"/>
            </c:dLbl>
            <c:dLbl>
              <c:idx val="1"/>
              <c:tx>
                <c:rich>
                  <a:bodyPr/>
                  <a:lstStyle/>
                  <a:p>
                    <a:r>
                      <a:t>IX 86</a:t>
                    </a:r>
                  </a:p>
                  <a:p>
                    <a:r>
                      <a:t>1337.32</a:t>
                    </a:r>
                  </a:p>
                </c:rich>
              </c:tx>
              <c:dLblPos val="l"/>
              <c:showLegendKey val="0"/>
              <c:showVal val="1"/>
              <c:showCatName val="0"/>
              <c:showSerName val="0"/>
              <c:showPercent val="0"/>
              <c:showBubbleSize val="0"/>
            </c:dLbl>
            <c:dLbl>
              <c:idx val="2"/>
              <c:tx>
                <c:rich>
                  <a:bodyPr/>
                  <a:lstStyle/>
                  <a:p>
                    <a:r>
                      <a:t>IX 5</a:t>
                    </a:r>
                  </a:p>
                  <a:p>
                    <a:r>
                      <a:t>2035.1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86</c:v>
                </c:pt>
                <c:pt idx="2">
                  <c:v>IX 5</c:v>
                </c:pt>
              </c:strCache>
            </c:strRef>
          </c:cat>
          <c:val>
            <c:numRef>
              <c:f>Sheet1!$C$2:$C$4</c:f>
              <c:numCache>
                <c:formatCode>General</c:formatCode>
                <c:ptCount val="3"/>
                <c:pt idx="0">
                  <c:v>1400.61</c:v>
                </c:pt>
                <c:pt idx="1">
                  <c:v>1337.32</c:v>
                </c:pt>
                <c:pt idx="2">
                  <c:v>2035.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86</c:v>
                </c:pt>
                <c:pt idx="2">
                  <c:v>IX 5</c:v>
                </c:pt>
              </c:strCache>
            </c:strRef>
          </c:cat>
          <c:val>
            <c:numRef>
              <c:f>Sheet1!$D$2:$D$4</c:f>
              <c:numCache>
                <c:formatCode>General</c:formatCode>
                <c:ptCount val="3"/>
                <c:pt idx="0">
                  <c:v>1788.33</c:v>
                </c:pt>
                <c:pt idx="1">
                  <c:v>1549.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86</c:v>
                </c:pt>
                <c:pt idx="2">
                  <c:v>IX 5</c:v>
                </c:pt>
              </c:strCache>
            </c:strRef>
          </c:cat>
          <c:val>
            <c:numRef>
              <c:f>Sheet1!$E$2:$E$4</c:f>
              <c:numCache>
                <c:formatCode>General</c:formatCode>
                <c:ptCount val="3"/>
                <c:pt idx="0">
                  <c:v>7149.1</c:v>
                </c:pt>
                <c:pt idx="2">
                  <c:v>4283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8</c:v>
                </c:pt>
                <c:pt idx="1">
                  <c:v>IX 86</c:v>
                </c:pt>
                <c:pt idx="2">
                  <c:v>IX 5</c:v>
                </c:pt>
              </c:strCache>
            </c:strRef>
          </c:cat>
          <c:val>
            <c:numRef>
              <c:f>Sheet1!$F$2:$F$4</c:f>
              <c:numCache>
                <c:formatCode>General</c:formatCode>
                <c:ptCount val="3"/>
                <c:pt idx="2">
                  <c:v>694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838.5"/>
          <c:min val="1203.21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B$2:$B$4</c:f>
              <c:numCache>
                <c:formatCode>General</c:formatCode>
                <c:ptCount val="3"/>
                <c:pt idx="0">
                  <c:v>1609.05</c:v>
                </c:pt>
                <c:pt idx="1">
                  <c:v>1203.72</c:v>
                </c:pt>
                <c:pt idx="2">
                  <c:v>2417.6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3</a:t>
                    </a:r>
                  </a:p>
                  <a:p>
                    <a:r>
                      <a:t>4707.8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C$2:$C$4</c:f>
              <c:numCache>
                <c:formatCode>General</c:formatCode>
                <c:ptCount val="3"/>
                <c:pt idx="0">
                  <c:v>4707.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D$2:$D$4</c:f>
              <c:numCache>
                <c:formatCode>General</c:formatCode>
                <c:ptCount val="3"/>
                <c:pt idx="0">
                  <c:v>1788.33</c:v>
                </c:pt>
                <c:pt idx="1">
                  <c:v>1549.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E$2:$E$4</c:f>
              <c:numCache>
                <c:formatCode>General</c:formatCode>
                <c:ptCount val="3"/>
                <c:pt idx="0">
                  <c:v>7149.1</c:v>
                </c:pt>
                <c:pt idx="2">
                  <c:v>4283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F$2:$F$4</c:f>
              <c:numCache>
                <c:formatCode>General</c:formatCode>
                <c:ptCount val="3"/>
                <c:pt idx="2">
                  <c:v>694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838.5"/>
          <c:min val="1203.21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49</c:v>
                </c:pt>
                <c:pt idx="2">
                  <c:v>IX 11</c:v>
                </c:pt>
              </c:strCache>
            </c:strRef>
          </c:cat>
          <c:val>
            <c:numRef>
              <c:f>Sheet1!$B$2:$B$4</c:f>
              <c:numCache>
                <c:formatCode>General</c:formatCode>
                <c:ptCount val="3"/>
                <c:pt idx="0">
                  <c:v>1864.61</c:v>
                </c:pt>
                <c:pt idx="1">
                  <c:v>1262.55</c:v>
                </c:pt>
                <c:pt idx="2">
                  <c:v>3017.8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39.16</a:t>
                    </a:r>
                  </a:p>
                </c:rich>
              </c:tx>
              <c:dLblPos val="l"/>
              <c:showLegendKey val="0"/>
              <c:showVal val="1"/>
              <c:showCatName val="0"/>
              <c:showSerName val="0"/>
              <c:showPercent val="0"/>
              <c:showBubbleSize val="0"/>
            </c:dLbl>
            <c:dLbl>
              <c:idx val="1"/>
              <c:tx>
                <c:rich>
                  <a:bodyPr/>
                  <a:lstStyle/>
                  <a:p>
                    <a:r>
                      <a:t>IX 49</a:t>
                    </a:r>
                  </a:p>
                  <a:p>
                    <a:r>
                      <a:t>803.44</a:t>
                    </a:r>
                  </a:p>
                </c:rich>
              </c:tx>
              <c:dLblPos val="l"/>
              <c:showLegendKey val="0"/>
              <c:showVal val="1"/>
              <c:showCatName val="0"/>
              <c:showSerName val="0"/>
              <c:showPercent val="0"/>
              <c:showBubbleSize val="0"/>
            </c:dLbl>
            <c:dLbl>
              <c:idx val="2"/>
              <c:tx>
                <c:rich>
                  <a:bodyPr/>
                  <a:lstStyle/>
                  <a:p>
                    <a:r>
                      <a:t>IX 11</a:t>
                    </a:r>
                  </a:p>
                  <a:p>
                    <a:r>
                      <a:t>1047.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49</c:v>
                </c:pt>
                <c:pt idx="2">
                  <c:v>IX 11</c:v>
                </c:pt>
              </c:strCache>
            </c:strRef>
          </c:cat>
          <c:val>
            <c:numRef>
              <c:f>Sheet1!$C$2:$C$4</c:f>
              <c:numCache>
                <c:formatCode>General</c:formatCode>
                <c:ptCount val="3"/>
                <c:pt idx="0">
                  <c:v>1339.16</c:v>
                </c:pt>
                <c:pt idx="1">
                  <c:v>803.44</c:v>
                </c:pt>
                <c:pt idx="2">
                  <c:v>104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49</c:v>
                </c:pt>
                <c:pt idx="2">
                  <c:v>IX 11</c:v>
                </c:pt>
              </c:strCache>
            </c:strRef>
          </c:cat>
          <c:val>
            <c:numRef>
              <c:f>Sheet1!$D$2:$D$4</c:f>
              <c:numCache>
                <c:formatCode>General</c:formatCode>
                <c:ptCount val="3"/>
                <c:pt idx="0">
                  <c:v>1932.72</c:v>
                </c:pt>
                <c:pt idx="1">
                  <c:v>1654.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49</c:v>
                </c:pt>
                <c:pt idx="2">
                  <c:v>IX 11</c:v>
                </c:pt>
              </c:strCache>
            </c:strRef>
          </c:cat>
          <c:val>
            <c:numRef>
              <c:f>Sheet1!$E$2:$E$4</c:f>
              <c:numCache>
                <c:formatCode>General</c:formatCode>
                <c:ptCount val="3"/>
                <c:pt idx="0">
                  <c:v>6422.78</c:v>
                </c:pt>
                <c:pt idx="2">
                  <c:v>9603.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49</c:v>
                </c:pt>
                <c:pt idx="2">
                  <c:v>IX 11</c:v>
                </c:pt>
              </c:strCache>
            </c:strRef>
          </c:cat>
          <c:val>
            <c:numRef>
              <c:f>Sheet1!$F$2:$F$4</c:f>
              <c:numCache>
                <c:formatCode>General</c:formatCode>
                <c:ptCount val="3"/>
                <c:pt idx="0">
                  <c:v>12088.33</c:v>
                </c:pt>
                <c:pt idx="1">
                  <c:v>4920.52</c:v>
                </c:pt>
                <c:pt idx="2">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802.93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84</c:v>
                </c:pt>
                <c:pt idx="2">
                  <c:v>IX 19</c:v>
                </c:pt>
              </c:strCache>
            </c:strRef>
          </c:cat>
          <c:val>
            <c:numRef>
              <c:f>Sheet1!$B$2:$B$4</c:f>
              <c:numCache>
                <c:formatCode>General</c:formatCode>
                <c:ptCount val="3"/>
                <c:pt idx="0">
                  <c:v>1864.61</c:v>
                </c:pt>
                <c:pt idx="1">
                  <c:v>1262.55</c:v>
                </c:pt>
                <c:pt idx="2">
                  <c:v>3017.8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29.87</a:t>
                    </a:r>
                  </a:p>
                </c:rich>
              </c:tx>
              <c:dLblPos val="l"/>
              <c:showLegendKey val="0"/>
              <c:showVal val="1"/>
              <c:showCatName val="0"/>
              <c:showSerName val="0"/>
              <c:showPercent val="0"/>
              <c:showBubbleSize val="0"/>
            </c:dLbl>
            <c:dLbl>
              <c:idx val="1"/>
              <c:tx>
                <c:rich>
                  <a:bodyPr/>
                  <a:lstStyle/>
                  <a:p>
                    <a:r>
                      <a:t>IX 84</a:t>
                    </a:r>
                  </a:p>
                  <a:p>
                    <a:r>
                      <a:t>1384.1</a:t>
                    </a:r>
                  </a:p>
                </c:rich>
              </c:tx>
              <c:dLblPos val="l"/>
              <c:showLegendKey val="0"/>
              <c:showVal val="1"/>
              <c:showCatName val="0"/>
              <c:showSerName val="0"/>
              <c:showPercent val="0"/>
              <c:showBubbleSize val="0"/>
            </c:dLbl>
            <c:dLbl>
              <c:idx val="2"/>
              <c:tx>
                <c:rich>
                  <a:bodyPr/>
                  <a:lstStyle/>
                  <a:p>
                    <a:r>
                      <a:t>IX 19</a:t>
                    </a:r>
                  </a:p>
                  <a:p>
                    <a:r>
                      <a:t>1789.4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84</c:v>
                </c:pt>
                <c:pt idx="2">
                  <c:v>IX 19</c:v>
                </c:pt>
              </c:strCache>
            </c:strRef>
          </c:cat>
          <c:val>
            <c:numRef>
              <c:f>Sheet1!$C$2:$C$4</c:f>
              <c:numCache>
                <c:formatCode>General</c:formatCode>
                <c:ptCount val="3"/>
                <c:pt idx="0">
                  <c:v>1329.87</c:v>
                </c:pt>
                <c:pt idx="1">
                  <c:v>1384.1</c:v>
                </c:pt>
                <c:pt idx="2">
                  <c:v>1789.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84</c:v>
                </c:pt>
                <c:pt idx="2">
                  <c:v>IX 19</c:v>
                </c:pt>
              </c:strCache>
            </c:strRef>
          </c:cat>
          <c:val>
            <c:numRef>
              <c:f>Sheet1!$D$2:$D$4</c:f>
              <c:numCache>
                <c:formatCode>General</c:formatCode>
                <c:ptCount val="3"/>
                <c:pt idx="0">
                  <c:v>1932.72</c:v>
                </c:pt>
                <c:pt idx="1">
                  <c:v>1654.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84</c:v>
                </c:pt>
                <c:pt idx="2">
                  <c:v>IX 19</c:v>
                </c:pt>
              </c:strCache>
            </c:strRef>
          </c:cat>
          <c:val>
            <c:numRef>
              <c:f>Sheet1!$E$2:$E$4</c:f>
              <c:numCache>
                <c:formatCode>General</c:formatCode>
                <c:ptCount val="3"/>
                <c:pt idx="0">
                  <c:v>6422.78</c:v>
                </c:pt>
                <c:pt idx="2">
                  <c:v>9603.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84</c:v>
                </c:pt>
                <c:pt idx="2">
                  <c:v>IX 19</c:v>
                </c:pt>
              </c:strCache>
            </c:strRef>
          </c:cat>
          <c:val>
            <c:numRef>
              <c:f>Sheet1!$F$2:$F$4</c:f>
              <c:numCache>
                <c:formatCode>General</c:formatCode>
                <c:ptCount val="3"/>
                <c:pt idx="0">
                  <c:v>12088.33</c:v>
                </c:pt>
                <c:pt idx="1">
                  <c:v>4920.52</c:v>
                </c:pt>
                <c:pt idx="2">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262.05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864.61</c:v>
                </c:pt>
                <c:pt idx="1">
                  <c:v>1262.55</c:v>
                </c:pt>
                <c:pt idx="2">
                  <c:v>3017.8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2</a:t>
                    </a:r>
                  </a:p>
                  <a:p>
                    <a:r>
                      <a:t>4873.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873.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932.72</c:v>
                </c:pt>
                <c:pt idx="1">
                  <c:v>1654.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6422.78</c:v>
                </c:pt>
                <c:pt idx="2">
                  <c:v>9603.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0">
                  <c:v>12088.33</c:v>
                </c:pt>
                <c:pt idx="1">
                  <c:v>4920.52</c:v>
                </c:pt>
                <c:pt idx="2">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262.05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1</c:v>
                </c:pt>
              </c:strCache>
            </c:strRef>
          </c:cat>
          <c:val>
            <c:numRef>
              <c:f>Sheet1!$B$2:$B$4</c:f>
              <c:numCache>
                <c:formatCode>General</c:formatCode>
                <c:ptCount val="3"/>
                <c:pt idx="0">
                  <c:v>1861.63</c:v>
                </c:pt>
                <c:pt idx="1">
                  <c:v>1263.15</c:v>
                </c:pt>
                <c:pt idx="2">
                  <c:v>2939.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64.28</a:t>
                    </a:r>
                  </a:p>
                </c:rich>
              </c:tx>
              <c:dLblPos val="l"/>
              <c:showLegendKey val="0"/>
              <c:showVal val="1"/>
              <c:showCatName val="0"/>
              <c:showSerName val="0"/>
              <c:showPercent val="0"/>
              <c:showBubbleSize val="0"/>
            </c:dLbl>
            <c:dLbl>
              <c:idx val="1"/>
              <c:tx>
                <c:rich>
                  <a:bodyPr/>
                  <a:lstStyle/>
                  <a:p>
                    <a:r>
                      <a:t>IX 50</a:t>
                    </a:r>
                  </a:p>
                  <a:p>
                    <a:r>
                      <a:t>839.9</a:t>
                    </a:r>
                  </a:p>
                </c:rich>
              </c:tx>
              <c:dLblPos val="l"/>
              <c:showLegendKey val="0"/>
              <c:showVal val="1"/>
              <c:showCatName val="0"/>
              <c:showSerName val="0"/>
              <c:showPercent val="0"/>
              <c:showBubbleSize val="0"/>
            </c:dLbl>
            <c:dLbl>
              <c:idx val="2"/>
              <c:tx>
                <c:rich>
                  <a:bodyPr/>
                  <a:lstStyle/>
                  <a:p>
                    <a:r>
                      <a:t>IX 11</a:t>
                    </a:r>
                  </a:p>
                  <a:p>
                    <a:r>
                      <a:t>1110.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1</c:v>
                </c:pt>
              </c:strCache>
            </c:strRef>
          </c:cat>
          <c:val>
            <c:numRef>
              <c:f>Sheet1!$C$2:$C$4</c:f>
              <c:numCache>
                <c:formatCode>General</c:formatCode>
                <c:ptCount val="3"/>
                <c:pt idx="0">
                  <c:v>1364.28</c:v>
                </c:pt>
                <c:pt idx="1">
                  <c:v>839.9</c:v>
                </c:pt>
                <c:pt idx="2">
                  <c:v>111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1</c:v>
                </c:pt>
              </c:strCache>
            </c:strRef>
          </c:cat>
          <c:val>
            <c:numRef>
              <c:f>Sheet1!$D$2:$D$4</c:f>
              <c:numCache>
                <c:formatCode>General</c:formatCode>
                <c:ptCount val="3"/>
                <c:pt idx="0">
                  <c:v>1965.83</c:v>
                </c:pt>
                <c:pt idx="1">
                  <c:v>1676.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1</c:v>
                </c:pt>
              </c:strCache>
            </c:strRef>
          </c:cat>
          <c:val>
            <c:numRef>
              <c:f>Sheet1!$E$2:$E$4</c:f>
              <c:numCache>
                <c:formatCode>General</c:formatCode>
                <c:ptCount val="3"/>
                <c:pt idx="0">
                  <c:v>6432.5</c:v>
                </c:pt>
                <c:pt idx="2">
                  <c:v>10325.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1</c:v>
                </c:pt>
              </c:strCache>
            </c:strRef>
          </c:cat>
          <c:val>
            <c:numRef>
              <c:f>Sheet1!$F$2:$F$4</c:f>
              <c:numCache>
                <c:formatCode>General</c:formatCode>
                <c:ptCount val="3"/>
                <c:pt idx="0">
                  <c:v>699.61</c:v>
                </c:pt>
                <c:pt idx="1">
                  <c:v>616.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325.8488"/>
          <c:min val="615.54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17</c:v>
                </c:pt>
              </c:strCache>
            </c:strRef>
          </c:cat>
          <c:val>
            <c:numRef>
              <c:f>Sheet1!$B$2:$B$4</c:f>
              <c:numCache>
                <c:formatCode>General</c:formatCode>
                <c:ptCount val="3"/>
                <c:pt idx="0">
                  <c:v>1861.63</c:v>
                </c:pt>
                <c:pt idx="1">
                  <c:v>1263.15</c:v>
                </c:pt>
                <c:pt idx="2">
                  <c:v>2939.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398.06</a:t>
                    </a:r>
                  </a:p>
                </c:rich>
              </c:tx>
              <c:dLblPos val="l"/>
              <c:showLegendKey val="0"/>
              <c:showVal val="1"/>
              <c:showCatName val="0"/>
              <c:showSerName val="0"/>
              <c:showPercent val="0"/>
              <c:showBubbleSize val="0"/>
            </c:dLbl>
            <c:dLbl>
              <c:idx val="1"/>
              <c:tx>
                <c:rich>
                  <a:bodyPr/>
                  <a:lstStyle/>
                  <a:p>
                    <a:r>
                      <a:t>IX 85</a:t>
                    </a:r>
                  </a:p>
                  <a:p>
                    <a:r>
                      <a:t>1433.16</a:t>
                    </a:r>
                  </a:p>
                </c:rich>
              </c:tx>
              <c:dLblPos val="l"/>
              <c:showLegendKey val="0"/>
              <c:showVal val="1"/>
              <c:showCatName val="0"/>
              <c:showSerName val="0"/>
              <c:showPercent val="0"/>
              <c:showBubbleSize val="0"/>
            </c:dLbl>
            <c:dLbl>
              <c:idx val="2"/>
              <c:tx>
                <c:rich>
                  <a:bodyPr/>
                  <a:lstStyle/>
                  <a:p>
                    <a:r>
                      <a:t>IX 17</a:t>
                    </a:r>
                  </a:p>
                  <a:p>
                    <a:r>
                      <a:t>1741.8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17</c:v>
                </c:pt>
              </c:strCache>
            </c:strRef>
          </c:cat>
          <c:val>
            <c:numRef>
              <c:f>Sheet1!$C$2:$C$4</c:f>
              <c:numCache>
                <c:formatCode>General</c:formatCode>
                <c:ptCount val="3"/>
                <c:pt idx="0">
                  <c:v>1398.06</c:v>
                </c:pt>
                <c:pt idx="1">
                  <c:v>1433.16</c:v>
                </c:pt>
                <c:pt idx="2">
                  <c:v>174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17</c:v>
                </c:pt>
              </c:strCache>
            </c:strRef>
          </c:cat>
          <c:val>
            <c:numRef>
              <c:f>Sheet1!$D$2:$D$4</c:f>
              <c:numCache>
                <c:formatCode>General</c:formatCode>
                <c:ptCount val="3"/>
                <c:pt idx="0">
                  <c:v>1965.83</c:v>
                </c:pt>
                <c:pt idx="1">
                  <c:v>1676.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17</c:v>
                </c:pt>
              </c:strCache>
            </c:strRef>
          </c:cat>
          <c:val>
            <c:numRef>
              <c:f>Sheet1!$E$2:$E$4</c:f>
              <c:numCache>
                <c:formatCode>General</c:formatCode>
                <c:ptCount val="3"/>
                <c:pt idx="0">
                  <c:v>6432.5</c:v>
                </c:pt>
                <c:pt idx="2">
                  <c:v>10325.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17</c:v>
                </c:pt>
              </c:strCache>
            </c:strRef>
          </c:cat>
          <c:val>
            <c:numRef>
              <c:f>Sheet1!$F$2:$F$4</c:f>
              <c:numCache>
                <c:formatCode>General</c:formatCode>
                <c:ptCount val="3"/>
                <c:pt idx="0">
                  <c:v>699.61</c:v>
                </c:pt>
                <c:pt idx="1">
                  <c:v>616.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325.8488"/>
          <c:min val="615.54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B$2:$B$4</c:f>
              <c:numCache>
                <c:formatCode>General</c:formatCode>
                <c:ptCount val="3"/>
                <c:pt idx="0">
                  <c:v>1861.63</c:v>
                </c:pt>
                <c:pt idx="1">
                  <c:v>1263.15</c:v>
                </c:pt>
                <c:pt idx="2">
                  <c:v>2939.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3</a:t>
                    </a:r>
                  </a:p>
                  <a:p>
                    <a:r>
                      <a:t>4967.2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C$2:$C$4</c:f>
              <c:numCache>
                <c:formatCode>General</c:formatCode>
                <c:ptCount val="3"/>
                <c:pt idx="0">
                  <c:v>4967.2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D$2:$D$4</c:f>
              <c:numCache>
                <c:formatCode>General</c:formatCode>
                <c:ptCount val="3"/>
                <c:pt idx="0">
                  <c:v>1965.83</c:v>
                </c:pt>
                <c:pt idx="1">
                  <c:v>1676.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E$2:$E$4</c:f>
              <c:numCache>
                <c:formatCode>General</c:formatCode>
                <c:ptCount val="3"/>
                <c:pt idx="0">
                  <c:v>6432.5</c:v>
                </c:pt>
                <c:pt idx="2">
                  <c:v>10325.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F$2:$F$4</c:f>
              <c:numCache>
                <c:formatCode>General</c:formatCode>
                <c:ptCount val="3"/>
                <c:pt idx="0">
                  <c:v>699.61</c:v>
                </c:pt>
                <c:pt idx="1">
                  <c:v>616.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325.8488"/>
          <c:min val="615.54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
                </c:pt>
              </c:strCache>
            </c:strRef>
          </c:cat>
          <c:val>
            <c:numRef>
              <c:f>Sheet1!$B$2:$B$5</c:f>
              <c:numCache>
                <c:formatCode>General</c:formatCode>
                <c:ptCount val="4"/>
                <c:pt idx="0">
                  <c:v>1648.45</c:v>
                </c:pt>
                <c:pt idx="1">
                  <c:v>1077.75</c:v>
                </c:pt>
                <c:pt idx="2">
                  <c:v>545.78</c:v>
                </c:pt>
                <c:pt idx="3">
                  <c:v>3967.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16.69</a:t>
                    </a:r>
                  </a:p>
                </c:rich>
              </c:tx>
              <c:dLblPos val="l"/>
              <c:showLegendKey val="0"/>
              <c:showVal val="1"/>
              <c:showCatName val="0"/>
              <c:showSerName val="0"/>
              <c:showPercent val="0"/>
              <c:showBubbleSize val="0"/>
            </c:dLbl>
            <c:dLbl>
              <c:idx val="1"/>
              <c:tx>
                <c:rich>
                  <a:bodyPr/>
                  <a:lstStyle/>
                  <a:p>
                    <a:r>
                      <a:t>IX 100</a:t>
                    </a:r>
                  </a:p>
                  <a:p>
                    <a:r>
                      <a:t>1162.17</a:t>
                    </a:r>
                  </a:p>
                </c:rich>
              </c:tx>
              <c:dLblPos val="l"/>
              <c:showLegendKey val="0"/>
              <c:showVal val="1"/>
              <c:showCatName val="0"/>
              <c:showSerName val="0"/>
              <c:showPercent val="0"/>
              <c:showBubbleSize val="0"/>
            </c:dLbl>
            <c:dLbl>
              <c:idx val="2"/>
              <c:tx>
                <c:rich>
                  <a:bodyPr/>
                  <a:lstStyle/>
                  <a:p>
                    <a:r>
                      <a:t>IX 100</a:t>
                    </a:r>
                  </a:p>
                  <a:p>
                    <a:r>
                      <a:t>716.0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
                </c:pt>
              </c:strCache>
            </c:strRef>
          </c:cat>
          <c:val>
            <c:numRef>
              <c:f>Sheet1!$C$2:$C$5</c:f>
              <c:numCache>
                <c:formatCode>General</c:formatCode>
                <c:ptCount val="4"/>
                <c:pt idx="0">
                  <c:v>1216.69</c:v>
                </c:pt>
                <c:pt idx="1">
                  <c:v>1162.17</c:v>
                </c:pt>
                <c:pt idx="2">
                  <c:v>716.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
                </c:pt>
              </c:strCache>
            </c:strRef>
          </c:cat>
          <c:val>
            <c:numRef>
              <c:f>Sheet1!$D$2:$D$5</c:f>
              <c:numCache>
                <c:formatCode>General</c:formatCode>
                <c:ptCount val="4"/>
                <c:pt idx="0">
                  <c:v>1686.75</c:v>
                </c:pt>
                <c:pt idx="1">
                  <c:v>1233.61</c:v>
                </c:pt>
                <c:pt idx="2">
                  <c:v>588.77</c:v>
                </c:pt>
                <c:pt idx="3">
                  <c:v>941.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
                </c:pt>
              </c:strCache>
            </c:strRef>
          </c:cat>
          <c:val>
            <c:numRef>
              <c:f>Sheet1!$E$2:$E$5</c:f>
              <c:numCache>
                <c:formatCode>General</c:formatCode>
                <c:ptCount val="4"/>
                <c:pt idx="0">
                  <c:v>3258.51</c:v>
                </c:pt>
                <c:pt idx="3">
                  <c:v>4873.5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
                </c:pt>
              </c:strCache>
            </c:strRef>
          </c:cat>
          <c:val>
            <c:numRef>
              <c:f>Sheet1!$F$2:$F$5</c:f>
              <c:numCache>
                <c:formatCode>General</c:formatCode>
                <c:ptCount val="4"/>
                <c:pt idx="0">
                  <c:v>7868.04</c:v>
                </c:pt>
                <c:pt idx="3">
                  <c:v>6619.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68.5426"/>
          <c:min val="545.27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2</c:v>
                </c:pt>
              </c:strCache>
            </c:strRef>
          </c:cat>
          <c:val>
            <c:numRef>
              <c:f>Sheet1!$B$2:$B$4</c:f>
              <c:numCache>
                <c:formatCode>General</c:formatCode>
                <c:ptCount val="3"/>
                <c:pt idx="0">
                  <c:v>1812.45</c:v>
                </c:pt>
                <c:pt idx="1">
                  <c:v>1353.73</c:v>
                </c:pt>
                <c:pt idx="2">
                  <c:v>2563.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68.21</a:t>
                    </a:r>
                  </a:p>
                </c:rich>
              </c:tx>
              <c:dLblPos val="l"/>
              <c:showLegendKey val="0"/>
              <c:showVal val="1"/>
              <c:showCatName val="0"/>
              <c:showSerName val="0"/>
              <c:showPercent val="0"/>
              <c:showBubbleSize val="0"/>
            </c:dLbl>
            <c:dLbl>
              <c:idx val="1"/>
              <c:tx>
                <c:rich>
                  <a:bodyPr/>
                  <a:lstStyle/>
                  <a:p>
                    <a:r>
                      <a:t>IX 50</a:t>
                    </a:r>
                  </a:p>
                  <a:p>
                    <a:r>
                      <a:t>840.89</a:t>
                    </a:r>
                  </a:p>
                </c:rich>
              </c:tx>
              <c:dLblPos val="l"/>
              <c:showLegendKey val="0"/>
              <c:showVal val="1"/>
              <c:showCatName val="0"/>
              <c:showSerName val="0"/>
              <c:showPercent val="0"/>
              <c:showBubbleSize val="0"/>
            </c:dLbl>
            <c:dLbl>
              <c:idx val="2"/>
              <c:tx>
                <c:rich>
                  <a:bodyPr/>
                  <a:lstStyle/>
                  <a:p>
                    <a:r>
                      <a:t>IX 2</a:t>
                    </a:r>
                  </a:p>
                  <a:p>
                    <a:r>
                      <a:t>157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2</c:v>
                </c:pt>
              </c:strCache>
            </c:strRef>
          </c:cat>
          <c:val>
            <c:numRef>
              <c:f>Sheet1!$C$2:$C$4</c:f>
              <c:numCache>
                <c:formatCode>General</c:formatCode>
                <c:ptCount val="3"/>
                <c:pt idx="0">
                  <c:v>1368.21</c:v>
                </c:pt>
                <c:pt idx="1">
                  <c:v>840.89</c:v>
                </c:pt>
                <c:pt idx="2">
                  <c:v>157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2</c:v>
                </c:pt>
              </c:strCache>
            </c:strRef>
          </c:cat>
          <c:val>
            <c:numRef>
              <c:f>Sheet1!$D$2:$D$4</c:f>
              <c:numCache>
                <c:formatCode>General</c:formatCode>
                <c:ptCount val="3"/>
                <c:pt idx="0">
                  <c:v>1985.41</c:v>
                </c:pt>
                <c:pt idx="1">
                  <c:v>1678.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2</c:v>
                </c:pt>
              </c:strCache>
            </c:strRef>
          </c:cat>
          <c:val>
            <c:numRef>
              <c:f>Sheet1!$E$2:$E$4</c:f>
              <c:numCache>
                <c:formatCode>General</c:formatCode>
                <c:ptCount val="3"/>
                <c:pt idx="0">
                  <c:v>6790.79</c:v>
                </c:pt>
                <c:pt idx="2">
                  <c:v>9077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2</c:v>
                </c:pt>
              </c:strCache>
            </c:strRef>
          </c:cat>
          <c:val>
            <c:numRef>
              <c:f>Sheet1!$F$2:$F$4</c:f>
              <c:numCache>
                <c:formatCode>General</c:formatCode>
                <c:ptCount val="3"/>
                <c:pt idx="2">
                  <c:v>19846.7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772.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7</c:v>
                </c:pt>
                <c:pt idx="2">
                  <c:v>IX 100</c:v>
                </c:pt>
              </c:strCache>
            </c:strRef>
          </c:cat>
          <c:val>
            <c:numRef>
              <c:f>Sheet1!$B$2:$B$4</c:f>
              <c:numCache>
                <c:formatCode>General</c:formatCode>
                <c:ptCount val="3"/>
                <c:pt idx="0">
                  <c:v>1812.45</c:v>
                </c:pt>
                <c:pt idx="1">
                  <c:v>1353.73</c:v>
                </c:pt>
                <c:pt idx="2">
                  <c:v>2563.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4</a:t>
                    </a:r>
                  </a:p>
                  <a:p>
                    <a:r>
                      <a:t>1460.31</a:t>
                    </a:r>
                  </a:p>
                </c:rich>
              </c:tx>
              <c:dLblPos val="l"/>
              <c:showLegendKey val="0"/>
              <c:showVal val="1"/>
              <c:showCatName val="0"/>
              <c:showSerName val="0"/>
              <c:showPercent val="0"/>
              <c:showBubbleSize val="0"/>
            </c:dLbl>
            <c:dLbl>
              <c:idx val="1"/>
              <c:tx>
                <c:rich>
                  <a:bodyPr/>
                  <a:lstStyle/>
                  <a:p>
                    <a:r>
                      <a:t>IX 87</a:t>
                    </a:r>
                  </a:p>
                  <a:p>
                    <a:r>
                      <a:t>1464.13</a:t>
                    </a:r>
                  </a:p>
                </c:rich>
              </c:tx>
              <c:dLblPos val="l"/>
              <c:showLegendKey val="0"/>
              <c:showVal val="1"/>
              <c:showCatName val="0"/>
              <c:showSerName val="0"/>
              <c:showPercent val="0"/>
              <c:showBubbleSize val="0"/>
            </c:dLbl>
            <c:dLbl>
              <c:idx val="2"/>
              <c:tx>
                <c:rich>
                  <a:bodyPr/>
                  <a:lstStyle/>
                  <a:p>
                    <a:r>
                      <a:t>IX 100</a:t>
                    </a:r>
                  </a:p>
                  <a:p>
                    <a:r>
                      <a:t>1782.7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7</c:v>
                </c:pt>
                <c:pt idx="2">
                  <c:v>IX 100</c:v>
                </c:pt>
              </c:strCache>
            </c:strRef>
          </c:cat>
          <c:val>
            <c:numRef>
              <c:f>Sheet1!$C$2:$C$4</c:f>
              <c:numCache>
                <c:formatCode>General</c:formatCode>
                <c:ptCount val="3"/>
                <c:pt idx="0">
                  <c:v>1460.31</c:v>
                </c:pt>
                <c:pt idx="1">
                  <c:v>1464.13</c:v>
                </c:pt>
                <c:pt idx="2">
                  <c:v>1782.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7</c:v>
                </c:pt>
                <c:pt idx="2">
                  <c:v>IX 100</c:v>
                </c:pt>
              </c:strCache>
            </c:strRef>
          </c:cat>
          <c:val>
            <c:numRef>
              <c:f>Sheet1!$D$2:$D$4</c:f>
              <c:numCache>
                <c:formatCode>General</c:formatCode>
                <c:ptCount val="3"/>
                <c:pt idx="0">
                  <c:v>1985.41</c:v>
                </c:pt>
                <c:pt idx="1">
                  <c:v>1678.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7</c:v>
                </c:pt>
                <c:pt idx="2">
                  <c:v>IX 100</c:v>
                </c:pt>
              </c:strCache>
            </c:strRef>
          </c:cat>
          <c:val>
            <c:numRef>
              <c:f>Sheet1!$E$2:$E$4</c:f>
              <c:numCache>
                <c:formatCode>General</c:formatCode>
                <c:ptCount val="3"/>
                <c:pt idx="0">
                  <c:v>6790.79</c:v>
                </c:pt>
                <c:pt idx="2">
                  <c:v>9077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7</c:v>
                </c:pt>
                <c:pt idx="2">
                  <c:v>IX 100</c:v>
                </c:pt>
              </c:strCache>
            </c:strRef>
          </c:cat>
          <c:val>
            <c:numRef>
              <c:f>Sheet1!$F$2:$F$4</c:f>
              <c:numCache>
                <c:formatCode>General</c:formatCode>
                <c:ptCount val="3"/>
                <c:pt idx="2">
                  <c:v>19846.7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772.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812.45</c:v>
                </c:pt>
                <c:pt idx="1">
                  <c:v>1353.73</c:v>
                </c:pt>
                <c:pt idx="2">
                  <c:v>2563.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2</a:t>
                    </a:r>
                  </a:p>
                  <a:p>
                    <a:r>
                      <a:t>499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99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985.41</c:v>
                </c:pt>
                <c:pt idx="1">
                  <c:v>1678.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6790.79</c:v>
                </c:pt>
                <c:pt idx="2">
                  <c:v>9077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2">
                  <c:v>19846.7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772.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B$2:$B$4</c:f>
              <c:numCache>
                <c:formatCode>General</c:formatCode>
                <c:ptCount val="3"/>
                <c:pt idx="0">
                  <c:v>1411.85</c:v>
                </c:pt>
                <c:pt idx="1">
                  <c:v>4735.47</c:v>
                </c:pt>
                <c:pt idx="2">
                  <c:v>1085.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255.7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05.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C$2:$C$4</c:f>
              <c:numCache>
                <c:formatCode>General</c:formatCode>
                <c:ptCount val="3"/>
                <c:pt idx="0">
                  <c:v>1255.73</c:v>
                </c:pt>
                <c:pt idx="2">
                  <c:v>1205.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D$2:$D$4</c:f>
              <c:numCache>
                <c:formatCode>General</c:formatCode>
                <c:ptCount val="3"/>
                <c:pt idx="0">
                  <c:v>1702.2</c:v>
                </c:pt>
                <c:pt idx="1">
                  <c:v>8392.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E$2:$E$4</c:f>
              <c:numCache>
                <c:formatCode>General</c:formatCode>
                <c:ptCount val="3"/>
                <c:pt idx="0">
                  <c:v>8554.55</c:v>
                </c:pt>
                <c:pt idx="1">
                  <c:v>3189.17</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F$2:$F$4</c:f>
              <c:numCache>
                <c:formatCode>General</c:formatCode>
                <c:ptCount val="3"/>
                <c:pt idx="1">
                  <c:v>6566.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555.0516"/>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46.17</c:v>
                </c:pt>
                <c:pt idx="1">
                  <c:v>8156.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350.5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350.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5182.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7136.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1345.67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B$2:$B$3</c:f>
              <c:numCache>
                <c:formatCode>General</c:formatCode>
                <c:ptCount val="2"/>
                <c:pt idx="0">
                  <c:v>1085.11</c:v>
                </c:pt>
                <c:pt idx="1">
                  <c:v>2351.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3</a:t>
                    </a:r>
                  </a:p>
                  <a:p>
                    <a:r>
                      <a:t>1203.2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C$2:$C$3</c:f>
              <c:numCache>
                <c:formatCode>General</c:formatCode>
                <c:ptCount val="2"/>
                <c:pt idx="0">
                  <c:v>1203.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D$2:$D$3</c:f>
              <c:numCache>
                <c:formatCode>General</c:formatCode>
                <c:ptCount val="2"/>
                <c:pt idx="0">
                  <c:v>1449.43</c:v>
                </c:pt>
                <c:pt idx="1">
                  <c:v>2977.8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E$2:$E$3</c:f>
              <c:numCache>
                <c:formatCode>General</c:formatCode>
                <c:ptCount val="2"/>
                <c:pt idx="0">
                  <c:v>588.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F$2:$F$3</c:f>
              <c:numCache>
                <c:formatCode>General</c:formatCode>
                <c:ptCount val="2"/>
                <c:pt idx="0">
                  <c:v>613.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78.3677"/>
          <c:min val="587.61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428.53</c:v>
                </c:pt>
                <c:pt idx="1">
                  <c:v>4578.46</c:v>
                </c:pt>
                <c:pt idx="2">
                  <c:v>1068.2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41.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11.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241.18</c:v>
                </c:pt>
                <c:pt idx="2">
                  <c:v>1211.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725.59</c:v>
                </c:pt>
                <c:pt idx="1">
                  <c:v>8330.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8712.87</c:v>
                </c:pt>
                <c:pt idx="1">
                  <c:v>3204.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1">
                  <c:v>6740.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13.369"/>
          <c:min val="1067.73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283.68</c:v>
                </c:pt>
                <c:pt idx="1">
                  <c:v>11966.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360.3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360.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250.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89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23504.1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1283.18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B$2:$B$3</c:f>
              <c:numCache>
                <c:formatCode>General</c:formatCode>
                <c:ptCount val="2"/>
                <c:pt idx="0">
                  <c:v>1070.34</c:v>
                </c:pt>
                <c:pt idx="1">
                  <c:v>226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3</a:t>
                    </a:r>
                  </a:p>
                  <a:p>
                    <a:r>
                      <a:t>1195.6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C$2:$C$3</c:f>
              <c:numCache>
                <c:formatCode>General</c:formatCode>
                <c:ptCount val="2"/>
                <c:pt idx="0">
                  <c:v>1195.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D$2:$D$3</c:f>
              <c:numCache>
                <c:formatCode>General</c:formatCode>
                <c:ptCount val="2"/>
                <c:pt idx="0">
                  <c:v>1441.3</c:v>
                </c:pt>
                <c:pt idx="1">
                  <c:v>2959.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E$2:$E$3</c:f>
              <c:numCache>
                <c:formatCode>General</c:formatCode>
                <c:ptCount val="2"/>
                <c:pt idx="0">
                  <c:v>574.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F$2:$F$3</c:f>
              <c:numCache>
                <c:formatCode>General</c:formatCode>
                <c:ptCount val="2"/>
                <c:pt idx="0">
                  <c:v>618.9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59.6188"/>
          <c:min val="573.70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B$2:$B$4</c:f>
              <c:numCache>
                <c:formatCode>General</c:formatCode>
                <c:ptCount val="3"/>
                <c:pt idx="0">
                  <c:v>1454.49</c:v>
                </c:pt>
                <c:pt idx="1">
                  <c:v>5692.15</c:v>
                </c:pt>
                <c:pt idx="2">
                  <c:v>102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8</a:t>
                    </a:r>
                  </a:p>
                  <a:p>
                    <a:r>
                      <a:t>1233.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36.4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C$2:$C$4</c:f>
              <c:numCache>
                <c:formatCode>General</c:formatCode>
                <c:ptCount val="3"/>
                <c:pt idx="0">
                  <c:v>1233.43</c:v>
                </c:pt>
                <c:pt idx="2">
                  <c:v>1136.4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D$2:$D$4</c:f>
              <c:numCache>
                <c:formatCode>General</c:formatCode>
                <c:ptCount val="3"/>
                <c:pt idx="0">
                  <c:v>1818.78</c:v>
                </c:pt>
                <c:pt idx="1">
                  <c:v>8302.0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E$2:$E$4</c:f>
              <c:numCache>
                <c:formatCode>General</c:formatCode>
                <c:ptCount val="3"/>
                <c:pt idx="0">
                  <c:v>4820.96</c:v>
                </c:pt>
                <c:pt idx="1">
                  <c:v>7984.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F$2:$F$4</c:f>
              <c:numCache>
                <c:formatCode>General</c:formatCode>
                <c:ptCount val="3"/>
                <c:pt idx="1">
                  <c:v>6782.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02.5809"/>
          <c:min val="1023.6972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75</c:v>
                </c:pt>
                <c:pt idx="2">
                  <c:v>IX 100</c:v>
                </c:pt>
                <c:pt idx="3">
                  <c:v>IX 4</c:v>
                </c:pt>
              </c:strCache>
            </c:strRef>
          </c:cat>
          <c:val>
            <c:numRef>
              <c:f>Sheet1!$B$2:$B$5</c:f>
              <c:numCache>
                <c:formatCode>General</c:formatCode>
                <c:ptCount val="4"/>
                <c:pt idx="0">
                  <c:v>1648.45</c:v>
                </c:pt>
                <c:pt idx="1">
                  <c:v>1077.75</c:v>
                </c:pt>
                <c:pt idx="2">
                  <c:v>545.78</c:v>
                </c:pt>
                <c:pt idx="3">
                  <c:v>3967.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0</a:t>
                    </a:r>
                  </a:p>
                  <a:p>
                    <a:r>
                      <a:t>1183.44</a:t>
                    </a:r>
                  </a:p>
                </c:rich>
              </c:tx>
              <c:dLblPos val="l"/>
              <c:showLegendKey val="0"/>
              <c:showVal val="1"/>
              <c:showCatName val="0"/>
              <c:showSerName val="0"/>
              <c:showPercent val="0"/>
              <c:showBubbleSize val="0"/>
            </c:dLbl>
            <c:dLbl>
              <c:idx val="1"/>
              <c:tx>
                <c:rich>
                  <a:bodyPr/>
                  <a:lstStyle/>
                  <a:p>
                    <a:r>
                      <a:t>IX 75</a:t>
                    </a:r>
                  </a:p>
                  <a:p>
                    <a:r>
                      <a:t>925.34</a:t>
                    </a:r>
                  </a:p>
                </c:rich>
              </c:tx>
              <c:dLblPos val="l"/>
              <c:showLegendKey val="0"/>
              <c:showVal val="1"/>
              <c:showCatName val="0"/>
              <c:showSerName val="0"/>
              <c:showPercent val="0"/>
              <c:showBubbleSize val="0"/>
            </c:dLbl>
            <c:dLbl>
              <c:idx val="2"/>
              <c:tx>
                <c:rich>
                  <a:bodyPr/>
                  <a:lstStyle/>
                  <a:p>
                    <a:r>
                      <a:t>IX 100</a:t>
                    </a:r>
                  </a:p>
                  <a:p>
                    <a:r>
                      <a:t>431.06</a:t>
                    </a:r>
                  </a:p>
                </c:rich>
              </c:tx>
              <c:dLblPos val="l"/>
              <c:showLegendKey val="0"/>
              <c:showVal val="1"/>
              <c:showCatName val="0"/>
              <c:showSerName val="0"/>
              <c:showPercent val="0"/>
              <c:showBubbleSize val="0"/>
            </c:dLbl>
            <c:dLbl>
              <c:idx val="3"/>
              <c:tx>
                <c:rich>
                  <a:bodyPr/>
                  <a:lstStyle/>
                  <a:p>
                    <a:r>
                      <a:t>IX 4</a:t>
                    </a:r>
                  </a:p>
                  <a:p>
                    <a:r>
                      <a:t>209.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75</c:v>
                </c:pt>
                <c:pt idx="2">
                  <c:v>IX 100</c:v>
                </c:pt>
                <c:pt idx="3">
                  <c:v>IX 4</c:v>
                </c:pt>
              </c:strCache>
            </c:strRef>
          </c:cat>
          <c:val>
            <c:numRef>
              <c:f>Sheet1!$C$2:$C$5</c:f>
              <c:numCache>
                <c:formatCode>General</c:formatCode>
                <c:ptCount val="4"/>
                <c:pt idx="0">
                  <c:v>1183.44</c:v>
                </c:pt>
                <c:pt idx="1">
                  <c:v>925.34</c:v>
                </c:pt>
                <c:pt idx="2">
                  <c:v>431.06</c:v>
                </c:pt>
                <c:pt idx="3">
                  <c:v>209.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75</c:v>
                </c:pt>
                <c:pt idx="2">
                  <c:v>IX 100</c:v>
                </c:pt>
                <c:pt idx="3">
                  <c:v>IX 4</c:v>
                </c:pt>
              </c:strCache>
            </c:strRef>
          </c:cat>
          <c:val>
            <c:numRef>
              <c:f>Sheet1!$D$2:$D$5</c:f>
              <c:numCache>
                <c:formatCode>General</c:formatCode>
                <c:ptCount val="4"/>
                <c:pt idx="0">
                  <c:v>1686.75</c:v>
                </c:pt>
                <c:pt idx="1">
                  <c:v>1233.61</c:v>
                </c:pt>
                <c:pt idx="2">
                  <c:v>588.77</c:v>
                </c:pt>
                <c:pt idx="3">
                  <c:v>941.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75</c:v>
                </c:pt>
                <c:pt idx="2">
                  <c:v>IX 100</c:v>
                </c:pt>
                <c:pt idx="3">
                  <c:v>IX 4</c:v>
                </c:pt>
              </c:strCache>
            </c:strRef>
          </c:cat>
          <c:val>
            <c:numRef>
              <c:f>Sheet1!$E$2:$E$5</c:f>
              <c:numCache>
                <c:formatCode>General</c:formatCode>
                <c:ptCount val="4"/>
                <c:pt idx="0">
                  <c:v>3258.51</c:v>
                </c:pt>
                <c:pt idx="3">
                  <c:v>4873.5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75</c:v>
                </c:pt>
                <c:pt idx="2">
                  <c:v>IX 100</c:v>
                </c:pt>
                <c:pt idx="3">
                  <c:v>IX 4</c:v>
                </c:pt>
              </c:strCache>
            </c:strRef>
          </c:cat>
          <c:val>
            <c:numRef>
              <c:f>Sheet1!$F$2:$F$5</c:f>
              <c:numCache>
                <c:formatCode>General</c:formatCode>
                <c:ptCount val="4"/>
                <c:pt idx="0">
                  <c:v>7868.04</c:v>
                </c:pt>
                <c:pt idx="3">
                  <c:v>6619.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68.5426"/>
          <c:min val="20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B$2:$B$3</c:f>
              <c:numCache>
                <c:formatCode>General</c:formatCode>
                <c:ptCount val="2"/>
                <c:pt idx="0">
                  <c:v>5395.56</c:v>
                </c:pt>
                <c:pt idx="1">
                  <c:v>1320.1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346.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C$2:$C$3</c:f>
              <c:numCache>
                <c:formatCode>General</c:formatCode>
                <c:ptCount val="2"/>
                <c:pt idx="1">
                  <c:v>1346.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D$2:$D$3</c:f>
              <c:numCache>
                <c:formatCode>General</c:formatCode>
                <c:ptCount val="2"/>
                <c:pt idx="0">
                  <c:v>4747.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E$2:$E$3</c:f>
              <c:numCache>
                <c:formatCode>General</c:formatCode>
                <c:ptCount val="2"/>
                <c:pt idx="0">
                  <c:v>10291.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F$2:$F$3</c:f>
              <c:numCache>
                <c:formatCode>General</c:formatCode>
                <c:ptCount val="2"/>
                <c:pt idx="1">
                  <c:v>2846.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1319.66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B$2:$B$3</c:f>
              <c:numCache>
                <c:formatCode>General</c:formatCode>
                <c:ptCount val="2"/>
                <c:pt idx="0">
                  <c:v>1069.69</c:v>
                </c:pt>
                <c:pt idx="1">
                  <c:v>2598.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1176.6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C$2:$C$3</c:f>
              <c:numCache>
                <c:formatCode>General</c:formatCode>
                <c:ptCount val="2"/>
                <c:pt idx="0">
                  <c:v>1176.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D$2:$D$3</c:f>
              <c:numCache>
                <c:formatCode>General</c:formatCode>
                <c:ptCount val="2"/>
                <c:pt idx="0">
                  <c:v>1468.45</c:v>
                </c:pt>
                <c:pt idx="1">
                  <c:v>2877.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E$2:$E$3</c:f>
              <c:numCache>
                <c:formatCode>General</c:formatCode>
                <c:ptCount val="2"/>
                <c:pt idx="0">
                  <c:v>581.3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F$2:$F$3</c:f>
              <c:numCache>
                <c:formatCode>General</c:formatCode>
                <c:ptCount val="2"/>
                <c:pt idx="1">
                  <c:v>2972.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73.037"/>
          <c:min val="580.84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B$2:$B$4</c:f>
              <c:numCache>
                <c:formatCode>General</c:formatCode>
                <c:ptCount val="3"/>
                <c:pt idx="0">
                  <c:v>1362.61</c:v>
                </c:pt>
                <c:pt idx="1">
                  <c:v>3222.92</c:v>
                </c:pt>
                <c:pt idx="2">
                  <c:v>1076.3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9</a:t>
                    </a:r>
                  </a:p>
                  <a:p>
                    <a:r>
                      <a:t>1249.0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62.7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C$2:$C$4</c:f>
              <c:numCache>
                <c:formatCode>General</c:formatCode>
                <c:ptCount val="3"/>
                <c:pt idx="0">
                  <c:v>1249.02</c:v>
                </c:pt>
                <c:pt idx="2">
                  <c:v>1162.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D$2:$D$4</c:f>
              <c:numCache>
                <c:formatCode>General</c:formatCode>
                <c:ptCount val="3"/>
                <c:pt idx="0">
                  <c:v>1581.41</c:v>
                </c:pt>
                <c:pt idx="1">
                  <c:v>7803.5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E$2:$E$4</c:f>
              <c:numCache>
                <c:formatCode>General</c:formatCode>
                <c:ptCount val="3"/>
                <c:pt idx="0">
                  <c:v>5083.97</c:v>
                </c:pt>
                <c:pt idx="1">
                  <c:v>7642.4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amp;J</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F$2:$F$4</c:f>
              <c:numCache>
                <c:formatCode>General</c:formatCode>
                <c:ptCount val="3"/>
                <c:pt idx="0">
                  <c:v>8694.35</c:v>
                </c:pt>
                <c:pt idx="1">
                  <c:v>2836.3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94.8548"/>
          <c:min val="1075.866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669.67</c:v>
                </c:pt>
                <c:pt idx="1">
                  <c:v>3464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65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65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498.6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327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641.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9</c:v>
                </c:pt>
                <c:pt idx="1">
                  <c:v/>
                </c:pt>
              </c:strCache>
            </c:strRef>
          </c:cat>
          <c:val>
            <c:numRef>
              <c:f>Sheet1!$B$2:$B$3</c:f>
              <c:numCache>
                <c:formatCode>General</c:formatCode>
                <c:ptCount val="2"/>
                <c:pt idx="0">
                  <c:v>1058.4</c:v>
                </c:pt>
                <c:pt idx="1">
                  <c:v>1811.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9</a:t>
                    </a:r>
                  </a:p>
                  <a:p>
                    <a:r>
                      <a:t>1103.0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9</c:v>
                </c:pt>
                <c:pt idx="1">
                  <c:v/>
                </c:pt>
              </c:strCache>
            </c:strRef>
          </c:cat>
          <c:val>
            <c:numRef>
              <c:f>Sheet1!$C$2:$C$3</c:f>
              <c:numCache>
                <c:formatCode>General</c:formatCode>
                <c:ptCount val="2"/>
                <c:pt idx="0">
                  <c:v>1103.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9</c:v>
                </c:pt>
                <c:pt idx="1">
                  <c:v/>
                </c:pt>
              </c:strCache>
            </c:strRef>
          </c:cat>
          <c:val>
            <c:numRef>
              <c:f>Sheet1!$D$2:$D$3</c:f>
              <c:numCache>
                <c:formatCode>General</c:formatCode>
                <c:ptCount val="2"/>
                <c:pt idx="0">
                  <c:v>1398.53</c:v>
                </c:pt>
                <c:pt idx="1">
                  <c:v>2868.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9</c:v>
                </c:pt>
                <c:pt idx="1">
                  <c:v/>
                </c:pt>
              </c:strCache>
            </c:strRef>
          </c:cat>
          <c:val>
            <c:numRef>
              <c:f>Sheet1!$E$2:$E$3</c:f>
              <c:numCache>
                <c:formatCode>General</c:formatCode>
                <c:ptCount val="2"/>
                <c:pt idx="0">
                  <c:v>568.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9</c:v>
                </c:pt>
                <c:pt idx="1">
                  <c:v/>
                </c:pt>
              </c:strCache>
            </c:strRef>
          </c:cat>
          <c:val>
            <c:numRef>
              <c:f>Sheet1!$F$2:$F$3</c:f>
              <c:numCache>
                <c:formatCode>General</c:formatCode>
                <c:ptCount val="2"/>
                <c:pt idx="0">
                  <c:v>600.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68.5"/>
          <c:min val="567.65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B$2:$B$4</c:f>
              <c:numCache>
                <c:formatCode>General</c:formatCode>
                <c:ptCount val="3"/>
                <c:pt idx="0">
                  <c:v>1381.26</c:v>
                </c:pt>
                <c:pt idx="1">
                  <c:v>4731.59</c:v>
                </c:pt>
                <c:pt idx="2">
                  <c:v>104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27.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87.2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C$2:$C$4</c:f>
              <c:numCache>
                <c:formatCode>General</c:formatCode>
                <c:ptCount val="3"/>
                <c:pt idx="0">
                  <c:v>1227.5</c:v>
                </c:pt>
                <c:pt idx="2">
                  <c:v>1187.2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D$2:$D$4</c:f>
              <c:numCache>
                <c:formatCode>General</c:formatCode>
                <c:ptCount val="3"/>
                <c:pt idx="0">
                  <c:v>1681.59</c:v>
                </c:pt>
                <c:pt idx="1">
                  <c:v>8476.8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E$2:$E$4</c:f>
              <c:numCache>
                <c:formatCode>General</c:formatCode>
                <c:ptCount val="3"/>
                <c:pt idx="0">
                  <c:v>8819.46</c:v>
                </c:pt>
                <c:pt idx="1">
                  <c:v>3118.4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F$2:$F$4</c:f>
              <c:numCache>
                <c:formatCode>General</c:formatCode>
                <c:ptCount val="3"/>
                <c:pt idx="1">
                  <c:v>621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19.9595"/>
          <c:min val="1048.99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08.1</c:v>
                </c:pt>
                <c:pt idx="1">
                  <c:v>10973.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04.8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204.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703.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10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1204.31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B$2:$B$3</c:f>
              <c:numCache>
                <c:formatCode>General</c:formatCode>
                <c:ptCount val="2"/>
                <c:pt idx="0">
                  <c:v>1071.02</c:v>
                </c:pt>
                <c:pt idx="1">
                  <c:v>2593.4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2</a:t>
                    </a:r>
                  </a:p>
                  <a:p>
                    <a:r>
                      <a:t>1184.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C$2:$C$3</c:f>
              <c:numCache>
                <c:formatCode>General</c:formatCode>
                <c:ptCount val="2"/>
                <c:pt idx="0">
                  <c:v>1184.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D$2:$D$3</c:f>
              <c:numCache>
                <c:formatCode>General</c:formatCode>
                <c:ptCount val="2"/>
                <c:pt idx="0">
                  <c:v>1442.71</c:v>
                </c:pt>
                <c:pt idx="1">
                  <c:v>3086.6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E$2:$E$3</c:f>
              <c:numCache>
                <c:formatCode>General</c:formatCode>
                <c:ptCount val="2"/>
                <c:pt idx="0">
                  <c:v>614.8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F$2:$F$3</c:f>
              <c:numCache>
                <c:formatCode>General</c:formatCode>
                <c:ptCount val="2"/>
                <c:pt idx="0">
                  <c:v>612.5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87.1795"/>
          <c:min val="612.0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B$2:$B$4</c:f>
              <c:numCache>
                <c:formatCode>General</c:formatCode>
                <c:ptCount val="3"/>
                <c:pt idx="0">
                  <c:v>1391.74</c:v>
                </c:pt>
                <c:pt idx="1">
                  <c:v>4830.95</c:v>
                </c:pt>
                <c:pt idx="2">
                  <c:v>112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285.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55.0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C$2:$C$4</c:f>
              <c:numCache>
                <c:formatCode>General</c:formatCode>
                <c:ptCount val="3"/>
                <c:pt idx="0">
                  <c:v>1285.39</c:v>
                </c:pt>
                <c:pt idx="2">
                  <c:v>1255.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D$2:$D$4</c:f>
              <c:numCache>
                <c:formatCode>General</c:formatCode>
                <c:ptCount val="3"/>
                <c:pt idx="0">
                  <c:v>1727.49</c:v>
                </c:pt>
                <c:pt idx="1">
                  <c:v>8439.0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E$2:$E$4</c:f>
              <c:numCache>
                <c:formatCode>General</c:formatCode>
                <c:ptCount val="3"/>
                <c:pt idx="0">
                  <c:v>8292.6</c:v>
                </c:pt>
                <c:pt idx="1">
                  <c:v>3401.56</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F$2:$F$4</c:f>
              <c:numCache>
                <c:formatCode>General</c:formatCode>
                <c:ptCount val="3"/>
                <c:pt idx="1">
                  <c:v>6176.7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39.5097"/>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10.51</c:v>
                </c:pt>
                <c:pt idx="1">
                  <c:v>10215.7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70.2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270.2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9001.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039.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5252.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253.125"/>
          <c:min val="1269.76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B$2:$B$5</c:f>
              <c:numCache>
                <c:formatCode>General</c:formatCode>
                <c:ptCount val="4"/>
                <c:pt idx="0">
                  <c:v>1648.45</c:v>
                </c:pt>
                <c:pt idx="1">
                  <c:v>1077.75</c:v>
                </c:pt>
                <c:pt idx="2">
                  <c:v>545.78</c:v>
                </c:pt>
                <c:pt idx="3">
                  <c:v>3967.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7</a:t>
                    </a:r>
                  </a:p>
                  <a:p>
                    <a:r>
                      <a:t>4341.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C$2:$C$5</c:f>
              <c:numCache>
                <c:formatCode>General</c:formatCode>
                <c:ptCount val="4"/>
                <c:pt idx="0">
                  <c:v>434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D$2:$D$5</c:f>
              <c:numCache>
                <c:formatCode>General</c:formatCode>
                <c:ptCount val="4"/>
                <c:pt idx="0">
                  <c:v>1686.75</c:v>
                </c:pt>
                <c:pt idx="1">
                  <c:v>1233.61</c:v>
                </c:pt>
                <c:pt idx="2">
                  <c:v>588.77</c:v>
                </c:pt>
                <c:pt idx="3">
                  <c:v>941.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E$2:$E$5</c:f>
              <c:numCache>
                <c:formatCode>General</c:formatCode>
                <c:ptCount val="4"/>
                <c:pt idx="0">
                  <c:v>3258.51</c:v>
                </c:pt>
                <c:pt idx="3">
                  <c:v>4873.5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F$2:$F$5</c:f>
              <c:numCache>
                <c:formatCode>General</c:formatCode>
                <c:ptCount val="4"/>
                <c:pt idx="0">
                  <c:v>7868.04</c:v>
                </c:pt>
                <c:pt idx="3">
                  <c:v>6619.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68.5426"/>
          <c:min val="545.27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B$2:$B$3</c:f>
              <c:numCache>
                <c:formatCode>General</c:formatCode>
                <c:ptCount val="2"/>
                <c:pt idx="0">
                  <c:v>1093.51</c:v>
                </c:pt>
                <c:pt idx="1">
                  <c:v>2485.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6</a:t>
                    </a:r>
                  </a:p>
                  <a:p>
                    <a:r>
                      <a:t>1284.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C$2:$C$3</c:f>
              <c:numCache>
                <c:formatCode>General</c:formatCode>
                <c:ptCount val="2"/>
                <c:pt idx="0">
                  <c:v>1284.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D$2:$D$3</c:f>
              <c:numCache>
                <c:formatCode>General</c:formatCode>
                <c:ptCount val="2"/>
                <c:pt idx="0">
                  <c:v>1492.76</c:v>
                </c:pt>
                <c:pt idx="1">
                  <c:v>2938.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E$2:$E$3</c:f>
              <c:numCache>
                <c:formatCode>General</c:formatCode>
                <c:ptCount val="2"/>
                <c:pt idx="0">
                  <c:v>600.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F$2:$F$3</c:f>
              <c:numCache>
                <c:formatCode>General</c:formatCode>
                <c:ptCount val="2"/>
                <c:pt idx="1">
                  <c:v>3665.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65.8333"/>
          <c:min val="599.58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
                </c:pt>
                <c:pt idx="2">
                  <c:v>IX 100</c:v>
                </c:pt>
              </c:strCache>
            </c:strRef>
          </c:cat>
          <c:val>
            <c:numRef>
              <c:f>Sheet1!$B$2:$B$4</c:f>
              <c:numCache>
                <c:formatCode>General</c:formatCode>
                <c:ptCount val="3"/>
                <c:pt idx="0">
                  <c:v>1482.02</c:v>
                </c:pt>
                <c:pt idx="1">
                  <c:v>4208.59</c:v>
                </c:pt>
                <c:pt idx="2">
                  <c:v>118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5</a:t>
                    </a:r>
                  </a:p>
                  <a:p>
                    <a:r>
                      <a:t>1311.7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80.4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
                </c:pt>
                <c:pt idx="2">
                  <c:v>IX 100</c:v>
                </c:pt>
              </c:strCache>
            </c:strRef>
          </c:cat>
          <c:val>
            <c:numRef>
              <c:f>Sheet1!$C$2:$C$4</c:f>
              <c:numCache>
                <c:formatCode>General</c:formatCode>
                <c:ptCount val="3"/>
                <c:pt idx="0">
                  <c:v>1311.73</c:v>
                </c:pt>
                <c:pt idx="2">
                  <c:v>1280.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
                </c:pt>
                <c:pt idx="2">
                  <c:v>IX 100</c:v>
                </c:pt>
              </c:strCache>
            </c:strRef>
          </c:cat>
          <c:val>
            <c:numRef>
              <c:f>Sheet1!$D$2:$D$4</c:f>
              <c:numCache>
                <c:formatCode>General</c:formatCode>
                <c:ptCount val="3"/>
                <c:pt idx="0">
                  <c:v>1745.93</c:v>
                </c:pt>
                <c:pt idx="1">
                  <c:v>9383.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
                </c:pt>
                <c:pt idx="2">
                  <c:v>IX 100</c:v>
                </c:pt>
              </c:strCache>
            </c:strRef>
          </c:cat>
          <c:val>
            <c:numRef>
              <c:f>Sheet1!$E$2:$E$4</c:f>
              <c:numCache>
                <c:formatCode>General</c:formatCode>
                <c:ptCount val="3"/>
                <c:pt idx="0">
                  <c:v>4770.7</c:v>
                </c:pt>
                <c:pt idx="1">
                  <c:v>8493.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J&amp;J</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
                </c:pt>
                <c:pt idx="2">
                  <c:v>IX 100</c:v>
                </c:pt>
              </c:strCache>
            </c:strRef>
          </c:cat>
          <c:val>
            <c:numRef>
              <c:f>Sheet1!$F$2:$F$4</c:f>
              <c:numCache>
                <c:formatCode>General</c:formatCode>
                <c:ptCount val="3"/>
                <c:pt idx="0">
                  <c:v>8191.06</c:v>
                </c:pt>
                <c:pt idx="1">
                  <c:v>3297.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84.4635"/>
          <c:min val="1182.3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415.36</c:v>
                </c:pt>
                <c:pt idx="1">
                  <c:v>10633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522.2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522.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12740.3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8410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6331.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B$2:$B$3</c:f>
              <c:numCache>
                <c:formatCode>General</c:formatCode>
                <c:ptCount val="2"/>
                <c:pt idx="0">
                  <c:v>1192.12</c:v>
                </c:pt>
                <c:pt idx="1">
                  <c:v>1693.9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7</a:t>
                    </a:r>
                  </a:p>
                  <a:p>
                    <a:r>
                      <a:t>1296.7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C$2:$C$3</c:f>
              <c:numCache>
                <c:formatCode>General</c:formatCode>
                <c:ptCount val="2"/>
                <c:pt idx="0">
                  <c:v>1296.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D$2:$D$3</c:f>
              <c:numCache>
                <c:formatCode>General</c:formatCode>
                <c:ptCount val="2"/>
                <c:pt idx="0">
                  <c:v>1489.8</c:v>
                </c:pt>
                <c:pt idx="1">
                  <c:v>3691.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E$2:$E$3</c:f>
              <c:numCache>
                <c:formatCode>General</c:formatCode>
                <c:ptCount val="2"/>
                <c:pt idx="0">
                  <c:v>586.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F$2:$F$3</c:f>
              <c:numCache>
                <c:formatCode>General</c:formatCode>
                <c:ptCount val="2"/>
                <c:pt idx="1">
                  <c:v>7013.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014.2059"/>
          <c:min val="586.02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411.85</c:v>
                </c:pt>
                <c:pt idx="1">
                  <c:v>4735.47</c:v>
                </c:pt>
                <c:pt idx="2">
                  <c:v>1085.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26.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69.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226.33</c:v>
                </c:pt>
                <c:pt idx="2">
                  <c:v>1169.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702.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8554.55</c:v>
                </c:pt>
                <c:pt idx="1">
                  <c:v>3189.17</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1">
                  <c:v>6566.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555.0516"/>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B$2:$B$4</c:f>
              <c:numCache>
                <c:formatCode>General</c:formatCode>
                <c:ptCount val="3"/>
                <c:pt idx="0">
                  <c:v>1411.85</c:v>
                </c:pt>
                <c:pt idx="1">
                  <c:v>4735.47</c:v>
                </c:pt>
                <c:pt idx="2">
                  <c:v>1085.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0</a:t>
                    </a:r>
                  </a:p>
                  <a:p>
                    <a:r>
                      <a:t>1199.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29.4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C$2:$C$4</c:f>
              <c:numCache>
                <c:formatCode>General</c:formatCode>
                <c:ptCount val="3"/>
                <c:pt idx="0">
                  <c:v>1199.67</c:v>
                </c:pt>
                <c:pt idx="2">
                  <c:v>1229.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D$2:$D$4</c:f>
              <c:numCache>
                <c:formatCode>General</c:formatCode>
                <c:ptCount val="3"/>
                <c:pt idx="0">
                  <c:v>1702.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E$2:$E$4</c:f>
              <c:numCache>
                <c:formatCode>General</c:formatCode>
                <c:ptCount val="3"/>
                <c:pt idx="0">
                  <c:v>8554.55</c:v>
                </c:pt>
                <c:pt idx="1">
                  <c:v>3189.17</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F$2:$F$4</c:f>
              <c:numCache>
                <c:formatCode>General</c:formatCode>
                <c:ptCount val="3"/>
                <c:pt idx="1">
                  <c:v>6566.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555.0516"/>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B$2:$B$4</c:f>
              <c:numCache>
                <c:formatCode>General</c:formatCode>
                <c:ptCount val="3"/>
                <c:pt idx="0">
                  <c:v>1411.85</c:v>
                </c:pt>
                <c:pt idx="1">
                  <c:v>4735.47</c:v>
                </c:pt>
                <c:pt idx="2">
                  <c:v>1085.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36</a:t>
                    </a:r>
                  </a:p>
                  <a:p>
                    <a:r>
                      <a:t>4025.5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C$2:$C$4</c:f>
              <c:numCache>
                <c:formatCode>General</c:formatCode>
                <c:ptCount val="3"/>
                <c:pt idx="0">
                  <c:v>4025.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D$2:$D$4</c:f>
              <c:numCache>
                <c:formatCode>General</c:formatCode>
                <c:ptCount val="3"/>
                <c:pt idx="0">
                  <c:v>1702.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E$2:$E$4</c:f>
              <c:numCache>
                <c:formatCode>General</c:formatCode>
                <c:ptCount val="3"/>
                <c:pt idx="0">
                  <c:v>8554.55</c:v>
                </c:pt>
                <c:pt idx="1">
                  <c:v>3189.17</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F$2:$F$4</c:f>
              <c:numCache>
                <c:formatCode>General</c:formatCode>
                <c:ptCount val="3"/>
                <c:pt idx="1">
                  <c:v>6566.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555.0516"/>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
                </c:pt>
              </c:strCache>
            </c:strRef>
          </c:cat>
          <c:val>
            <c:numRef>
              <c:f>Sheet1!$B$2:$B$3</c:f>
              <c:numCache>
                <c:formatCode>General</c:formatCode>
                <c:ptCount val="2"/>
                <c:pt idx="0">
                  <c:v>1346.17</c:v>
                </c:pt>
                <c:pt idx="1">
                  <c:v>8156.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a:t>
                    </a:r>
                  </a:p>
                  <a:p>
                    <a:r>
                      <a:t>854.0</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
                </c:pt>
              </c:strCache>
            </c:strRef>
          </c:cat>
          <c:val>
            <c:numRef>
              <c:f>Sheet1!$C$2:$C$3</c:f>
              <c:numCache>
                <c:formatCode>General</c:formatCode>
                <c:ptCount val="2"/>
                <c:pt idx="0">
                  <c:v>854.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
                </c:pt>
              </c:strCache>
            </c:strRef>
          </c:cat>
          <c:val>
            <c:numRef>
              <c:f>Sheet1!$D$2:$D$3</c:f>
              <c:numCache>
                <c:formatCode>General</c:formatCode>
                <c:ptCount val="2"/>
                <c:pt idx="0">
                  <c:v>5182.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
                </c:pt>
              </c:strCache>
            </c:strRef>
          </c:cat>
          <c:val>
            <c:numRef>
              <c:f>Sheet1!$E$2:$E$3</c:f>
              <c:numCache>
                <c:formatCode>General</c:formatCode>
                <c:ptCount val="2"/>
                <c:pt idx="1">
                  <c:v>7136.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
                </c:pt>
              </c:strCache>
            </c:strRef>
          </c:cat>
          <c:val>
            <c:numRef>
              <c:f>Sheet1!$F$2:$F$3</c:f>
              <c:numCache>
                <c:formatCode>General</c:formatCode>
                <c:ptCount val="2"/>
                <c:pt idx="1">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853.5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46.17</c:v>
                </c:pt>
                <c:pt idx="1">
                  <c:v>8156.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555.7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555.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5182.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7136.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1345.67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B$2:$B$3</c:f>
              <c:numCache>
                <c:formatCode>General</c:formatCode>
                <c:ptCount val="2"/>
                <c:pt idx="0">
                  <c:v>1085.11</c:v>
                </c:pt>
                <c:pt idx="1">
                  <c:v>2351.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589.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C$2:$C$3</c:f>
              <c:numCache>
                <c:formatCode>General</c:formatCode>
                <c:ptCount val="2"/>
                <c:pt idx="0">
                  <c:v>589.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D$2:$D$3</c:f>
              <c:numCache>
                <c:formatCode>General</c:formatCode>
                <c:ptCount val="2"/>
                <c:pt idx="0">
                  <c:v>1449.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E$2:$E$3</c:f>
              <c:numCache>
                <c:formatCode>General</c:formatCode>
                <c:ptCount val="2"/>
                <c:pt idx="0">
                  <c:v>588.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F$2:$F$3</c:f>
              <c:numCache>
                <c:formatCode>General</c:formatCode>
                <c:ptCount val="2"/>
                <c:pt idx="0">
                  <c:v>620.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2.1707"/>
          <c:min val="587.57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IX 100</c:v>
                </c:pt>
                <c:pt idx="3">
                  <c:v>IX 100</c:v>
                </c:pt>
              </c:strCache>
            </c:strRef>
          </c:cat>
          <c:val>
            <c:numRef>
              <c:f>Sheet1!$B$2:$B$5</c:f>
              <c:numCache>
                <c:formatCode>General</c:formatCode>
                <c:ptCount val="4"/>
                <c:pt idx="0">
                  <c:v>1980.32</c:v>
                </c:pt>
                <c:pt idx="1">
                  <c:v>5368.71</c:v>
                </c:pt>
                <c:pt idx="2">
                  <c:v>1055.42</c:v>
                </c:pt>
                <c:pt idx="3">
                  <c:v>524.8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1176.9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010.16</a:t>
                    </a:r>
                  </a:p>
                </c:rich>
              </c:tx>
              <c:dLblPos val="l"/>
              <c:showLegendKey val="0"/>
              <c:showVal val="1"/>
              <c:showCatName val="0"/>
              <c:showSerName val="0"/>
              <c:showPercent val="0"/>
              <c:showBubbleSize val="0"/>
            </c:dLbl>
            <c:dLbl>
              <c:idx val="3"/>
              <c:tx>
                <c:rich>
                  <a:bodyPr/>
                  <a:lstStyle/>
                  <a:p>
                    <a:r>
                      <a:t>IX 100</a:t>
                    </a:r>
                  </a:p>
                  <a:p>
                    <a:r>
                      <a:t>625.0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IX 100</c:v>
                </c:pt>
                <c:pt idx="3">
                  <c:v>IX 100</c:v>
                </c:pt>
              </c:strCache>
            </c:strRef>
          </c:cat>
          <c:val>
            <c:numRef>
              <c:f>Sheet1!$C$2:$C$5</c:f>
              <c:numCache>
                <c:formatCode>General</c:formatCode>
                <c:ptCount val="4"/>
                <c:pt idx="0">
                  <c:v>1176.94</c:v>
                </c:pt>
                <c:pt idx="2">
                  <c:v>1010.16</c:v>
                </c:pt>
                <c:pt idx="3">
                  <c:v>625.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IX 100</c:v>
                </c:pt>
                <c:pt idx="3">
                  <c:v>IX 100</c:v>
                </c:pt>
              </c:strCache>
            </c:strRef>
          </c:cat>
          <c:val>
            <c:numRef>
              <c:f>Sheet1!$D$2:$D$5</c:f>
              <c:numCache>
                <c:formatCode>General</c:formatCode>
                <c:ptCount val="4"/>
                <c:pt idx="0">
                  <c:v>1773.12</c:v>
                </c:pt>
                <c:pt idx="1">
                  <c:v>1017.95</c:v>
                </c:pt>
                <c:pt idx="2">
                  <c:v>1240.54</c:v>
                </c:pt>
                <c:pt idx="3">
                  <c:v>541.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IX 100</c:v>
                </c:pt>
                <c:pt idx="3">
                  <c:v>IX 100</c:v>
                </c:pt>
              </c:strCache>
            </c:strRef>
          </c:cat>
          <c:val>
            <c:numRef>
              <c:f>Sheet1!$E$2:$E$5</c:f>
              <c:numCache>
                <c:formatCode>General</c:formatCode>
                <c:ptCount val="4"/>
                <c:pt idx="0">
                  <c:v>8894.28</c:v>
                </c:pt>
                <c:pt idx="1">
                  <c:v>10259.39</c:v>
                </c:pt>
                <c:pt idx="3">
                  <c:v>251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
                </c:pt>
                <c:pt idx="2">
                  <c:v>IX 100</c:v>
                </c:pt>
                <c:pt idx="3">
                  <c:v>IX 100</c:v>
                </c:pt>
              </c:strCache>
            </c:strRef>
          </c:cat>
          <c:val>
            <c:numRef>
              <c:f>Sheet1!$F$2:$F$5</c:f>
              <c:numCache>
                <c:formatCode>General</c:formatCode>
                <c:ptCount val="4"/>
                <c:pt idx="0">
                  <c:v>6401.52</c:v>
                </c:pt>
                <c:pt idx="1">
                  <c:v>7448.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9.89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B$2:$B$3</c:f>
              <c:numCache>
                <c:formatCode>General</c:formatCode>
                <c:ptCount val="2"/>
                <c:pt idx="0">
                  <c:v>1085.11</c:v>
                </c:pt>
                <c:pt idx="1">
                  <c:v>2351.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4</a:t>
                    </a:r>
                  </a:p>
                  <a:p>
                    <a:r>
                      <a:t>1218.6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C$2:$C$3</c:f>
              <c:numCache>
                <c:formatCode>General</c:formatCode>
                <c:ptCount val="2"/>
                <c:pt idx="0">
                  <c:v>1218.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D$2:$D$3</c:f>
              <c:numCache>
                <c:formatCode>General</c:formatCode>
                <c:ptCount val="2"/>
                <c:pt idx="0">
                  <c:v>1449.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E$2:$E$3</c:f>
              <c:numCache>
                <c:formatCode>General</c:formatCode>
                <c:ptCount val="2"/>
                <c:pt idx="0">
                  <c:v>588.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F$2:$F$3</c:f>
              <c:numCache>
                <c:formatCode>General</c:formatCode>
                <c:ptCount val="2"/>
                <c:pt idx="0">
                  <c:v>620.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2.1707"/>
          <c:min val="587.57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B$2:$B$4</c:f>
              <c:numCache>
                <c:formatCode>General</c:formatCode>
                <c:ptCount val="3"/>
                <c:pt idx="0">
                  <c:v>1428.53</c:v>
                </c:pt>
                <c:pt idx="1">
                  <c:v>4578.46</c:v>
                </c:pt>
                <c:pt idx="2">
                  <c:v>1068.2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27.7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97.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C$2:$C$4</c:f>
              <c:numCache>
                <c:formatCode>General</c:formatCode>
                <c:ptCount val="3"/>
                <c:pt idx="0">
                  <c:v>1227.73</c:v>
                </c:pt>
                <c:pt idx="2">
                  <c:v>1197.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D$2:$D$4</c:f>
              <c:numCache>
                <c:formatCode>General</c:formatCode>
                <c:ptCount val="3"/>
                <c:pt idx="0">
                  <c:v>1725.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E$2:$E$4</c:f>
              <c:numCache>
                <c:formatCode>General</c:formatCode>
                <c:ptCount val="3"/>
                <c:pt idx="0">
                  <c:v>8712.87</c:v>
                </c:pt>
                <c:pt idx="1">
                  <c:v>3204.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F$2:$F$4</c:f>
              <c:numCache>
                <c:formatCode>General</c:formatCode>
                <c:ptCount val="3"/>
                <c:pt idx="1">
                  <c:v>6740.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13.369"/>
          <c:min val="1067.73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B$2:$B$4</c:f>
              <c:numCache>
                <c:formatCode>General</c:formatCode>
                <c:ptCount val="3"/>
                <c:pt idx="0">
                  <c:v>1428.53</c:v>
                </c:pt>
                <c:pt idx="1">
                  <c:v>4578.46</c:v>
                </c:pt>
                <c:pt idx="2">
                  <c:v>1068.2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1138.0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23.3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C$2:$C$4</c:f>
              <c:numCache>
                <c:formatCode>General</c:formatCode>
                <c:ptCount val="3"/>
                <c:pt idx="0">
                  <c:v>1138.04</c:v>
                </c:pt>
                <c:pt idx="2">
                  <c:v>1223.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D$2:$D$4</c:f>
              <c:numCache>
                <c:formatCode>General</c:formatCode>
                <c:ptCount val="3"/>
                <c:pt idx="0">
                  <c:v>1725.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E$2:$E$4</c:f>
              <c:numCache>
                <c:formatCode>General</c:formatCode>
                <c:ptCount val="3"/>
                <c:pt idx="0">
                  <c:v>8712.87</c:v>
                </c:pt>
                <c:pt idx="1">
                  <c:v>3204.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F$2:$F$4</c:f>
              <c:numCache>
                <c:formatCode>General</c:formatCode>
                <c:ptCount val="3"/>
                <c:pt idx="1">
                  <c:v>6740.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13.369"/>
          <c:min val="1067.73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428.53</c:v>
                </c:pt>
                <c:pt idx="1">
                  <c:v>4578.46</c:v>
                </c:pt>
                <c:pt idx="2">
                  <c:v>1068.2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2</a:t>
                    </a:r>
                  </a:p>
                  <a:p>
                    <a:r>
                      <a:t>4341.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34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725.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8712.87</c:v>
                </c:pt>
                <c:pt idx="1">
                  <c:v>3204.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1">
                  <c:v>6740.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13.369"/>
          <c:min val="1067.73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B$2:$B$3</c:f>
              <c:numCache>
                <c:formatCode>General</c:formatCode>
                <c:ptCount val="2"/>
                <c:pt idx="0">
                  <c:v>1283.68</c:v>
                </c:pt>
                <c:pt idx="1">
                  <c:v>11966.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a:t>
                    </a:r>
                  </a:p>
                  <a:p>
                    <a:r>
                      <a:t>787.5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C$2:$C$3</c:f>
              <c:numCache>
                <c:formatCode>General</c:formatCode>
                <c:ptCount val="2"/>
                <c:pt idx="0">
                  <c:v>787.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D$2:$D$3</c:f>
              <c:numCache>
                <c:formatCode>General</c:formatCode>
                <c:ptCount val="2"/>
                <c:pt idx="0">
                  <c:v>6250.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E$2:$E$3</c:f>
              <c:numCache>
                <c:formatCode>General</c:formatCode>
                <c:ptCount val="2"/>
                <c:pt idx="1">
                  <c:v>989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F$2:$F$3</c:f>
              <c:numCache>
                <c:formatCode>General</c:formatCode>
                <c:ptCount val="2"/>
                <c:pt idx="1">
                  <c:v>23504.1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787.00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283.68</c:v>
                </c:pt>
                <c:pt idx="1">
                  <c:v>11966.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542.3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542.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250.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89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23504.1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1283.18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B$2:$B$3</c:f>
              <c:numCache>
                <c:formatCode>General</c:formatCode>
                <c:ptCount val="2"/>
                <c:pt idx="0">
                  <c:v>1070.34</c:v>
                </c:pt>
                <c:pt idx="1">
                  <c:v>226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584.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C$2:$C$3</c:f>
              <c:numCache>
                <c:formatCode>General</c:formatCode>
                <c:ptCount val="2"/>
                <c:pt idx="0">
                  <c:v>58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D$2:$D$3</c:f>
              <c:numCache>
                <c:formatCode>General</c:formatCode>
                <c:ptCount val="2"/>
                <c:pt idx="0">
                  <c:v>144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E$2:$E$3</c:f>
              <c:numCache>
                <c:formatCode>General</c:formatCode>
                <c:ptCount val="2"/>
                <c:pt idx="0">
                  <c:v>574.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F$2:$F$3</c:f>
              <c:numCache>
                <c:formatCode>General</c:formatCode>
                <c:ptCount val="2"/>
                <c:pt idx="0">
                  <c:v>622.9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64.9255"/>
          <c:min val="573.70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B$2:$B$3</c:f>
              <c:numCache>
                <c:formatCode>General</c:formatCode>
                <c:ptCount val="2"/>
                <c:pt idx="0">
                  <c:v>1070.34</c:v>
                </c:pt>
                <c:pt idx="1">
                  <c:v>226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5</a:t>
                    </a:r>
                  </a:p>
                  <a:p>
                    <a:r>
                      <a:t>1222.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C$2:$C$3</c:f>
              <c:numCache>
                <c:formatCode>General</c:formatCode>
                <c:ptCount val="2"/>
                <c:pt idx="0">
                  <c:v>122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D$2:$D$3</c:f>
              <c:numCache>
                <c:formatCode>General</c:formatCode>
                <c:ptCount val="2"/>
                <c:pt idx="0">
                  <c:v>144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E$2:$E$3</c:f>
              <c:numCache>
                <c:formatCode>General</c:formatCode>
                <c:ptCount val="2"/>
                <c:pt idx="0">
                  <c:v>574.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F$2:$F$3</c:f>
              <c:numCache>
                <c:formatCode>General</c:formatCode>
                <c:ptCount val="2"/>
                <c:pt idx="0">
                  <c:v>622.9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64.9255"/>
          <c:min val="573.70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B$2:$B$4</c:f>
              <c:numCache>
                <c:formatCode>General</c:formatCode>
                <c:ptCount val="3"/>
                <c:pt idx="0">
                  <c:v>1454.49</c:v>
                </c:pt>
                <c:pt idx="1">
                  <c:v>5692.15</c:v>
                </c:pt>
                <c:pt idx="2">
                  <c:v>102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5</a:t>
                    </a:r>
                  </a:p>
                  <a:p>
                    <a:r>
                      <a:t>1190.6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28.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C$2:$C$4</c:f>
              <c:numCache>
                <c:formatCode>General</c:formatCode>
                <c:ptCount val="3"/>
                <c:pt idx="0">
                  <c:v>1190.66</c:v>
                </c:pt>
                <c:pt idx="2">
                  <c:v>1128.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D$2:$D$4</c:f>
              <c:numCache>
                <c:formatCode>General</c:formatCode>
                <c:ptCount val="3"/>
                <c:pt idx="0">
                  <c:v>1818.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E$2:$E$4</c:f>
              <c:numCache>
                <c:formatCode>General</c:formatCode>
                <c:ptCount val="3"/>
                <c:pt idx="1">
                  <c:v>6782.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F$2:$F$4</c:f>
              <c:numCache>
                <c:formatCode>General</c:formatCode>
                <c:ptCount val="3"/>
                <c:pt idx="1">
                  <c:v>9266.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66.73"/>
          <c:min val="1023.6972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B$2:$B$4</c:f>
              <c:numCache>
                <c:formatCode>General</c:formatCode>
                <c:ptCount val="3"/>
                <c:pt idx="0">
                  <c:v>1454.49</c:v>
                </c:pt>
                <c:pt idx="1">
                  <c:v>5692.15</c:v>
                </c:pt>
                <c:pt idx="2">
                  <c:v>102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1196.3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41.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C$2:$C$4</c:f>
              <c:numCache>
                <c:formatCode>General</c:formatCode>
                <c:ptCount val="3"/>
                <c:pt idx="0">
                  <c:v>1196.37</c:v>
                </c:pt>
                <c:pt idx="2">
                  <c:v>1141.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D$2:$D$4</c:f>
              <c:numCache>
                <c:formatCode>General</c:formatCode>
                <c:ptCount val="3"/>
                <c:pt idx="0">
                  <c:v>1818.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E$2:$E$4</c:f>
              <c:numCache>
                <c:formatCode>General</c:formatCode>
                <c:ptCount val="3"/>
                <c:pt idx="1">
                  <c:v>6782.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100</c:v>
                </c:pt>
              </c:strCache>
            </c:strRef>
          </c:cat>
          <c:val>
            <c:numRef>
              <c:f>Sheet1!$F$2:$F$4</c:f>
              <c:numCache>
                <c:formatCode>General</c:formatCode>
                <c:ptCount val="3"/>
                <c:pt idx="1">
                  <c:v>9266.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66.73"/>
          <c:min val="1023.6972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7</c:v>
                </c:pt>
                <c:pt idx="2">
                  <c:v>IX 72</c:v>
                </c:pt>
                <c:pt idx="3">
                  <c:v>IX 100</c:v>
                </c:pt>
              </c:strCache>
            </c:strRef>
          </c:cat>
          <c:val>
            <c:numRef>
              <c:f>Sheet1!$B$2:$B$5</c:f>
              <c:numCache>
                <c:formatCode>General</c:formatCode>
                <c:ptCount val="4"/>
                <c:pt idx="0">
                  <c:v>1980.32</c:v>
                </c:pt>
                <c:pt idx="1">
                  <c:v>5368.71</c:v>
                </c:pt>
                <c:pt idx="2">
                  <c:v>1055.42</c:v>
                </c:pt>
                <c:pt idx="3">
                  <c:v>524.8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1175.73</a:t>
                    </a:r>
                  </a:p>
                </c:rich>
              </c:tx>
              <c:dLblPos val="l"/>
              <c:showLegendKey val="0"/>
              <c:showVal val="1"/>
              <c:showCatName val="0"/>
              <c:showSerName val="0"/>
              <c:showPercent val="0"/>
              <c:showBubbleSize val="0"/>
            </c:dLbl>
            <c:dLbl>
              <c:idx val="1"/>
              <c:tx>
                <c:rich>
                  <a:bodyPr/>
                  <a:lstStyle/>
                  <a:p>
                    <a:r>
                      <a:t>IX 7</a:t>
                    </a:r>
                  </a:p>
                  <a:p>
                    <a:r>
                      <a:t>766.43</a:t>
                    </a:r>
                  </a:p>
                </c:rich>
              </c:tx>
              <c:dLblPos val="l"/>
              <c:showLegendKey val="0"/>
              <c:showVal val="1"/>
              <c:showCatName val="0"/>
              <c:showSerName val="0"/>
              <c:showPercent val="0"/>
              <c:showBubbleSize val="0"/>
            </c:dLbl>
            <c:dLbl>
              <c:idx val="2"/>
              <c:tx>
                <c:rich>
                  <a:bodyPr/>
                  <a:lstStyle/>
                  <a:p>
                    <a:r>
                      <a:t>IX 72</a:t>
                    </a:r>
                  </a:p>
                  <a:p>
                    <a:r>
                      <a:t>894.27</a:t>
                    </a:r>
                  </a:p>
                </c:rich>
              </c:tx>
              <c:dLblPos val="l"/>
              <c:showLegendKey val="0"/>
              <c:showVal val="1"/>
              <c:showCatName val="0"/>
              <c:showSerName val="0"/>
              <c:showPercent val="0"/>
              <c:showBubbleSize val="0"/>
            </c:dLbl>
            <c:dLbl>
              <c:idx val="3"/>
              <c:tx>
                <c:rich>
                  <a:bodyPr/>
                  <a:lstStyle/>
                  <a:p>
                    <a:r>
                      <a:t>IX 100</a:t>
                    </a:r>
                  </a:p>
                  <a:p>
                    <a:r>
                      <a:t>482.2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7</c:v>
                </c:pt>
                <c:pt idx="2">
                  <c:v>IX 72</c:v>
                </c:pt>
                <c:pt idx="3">
                  <c:v>IX 100</c:v>
                </c:pt>
              </c:strCache>
            </c:strRef>
          </c:cat>
          <c:val>
            <c:numRef>
              <c:f>Sheet1!$C$2:$C$5</c:f>
              <c:numCache>
                <c:formatCode>General</c:formatCode>
                <c:ptCount val="4"/>
                <c:pt idx="0">
                  <c:v>1175.73</c:v>
                </c:pt>
                <c:pt idx="1">
                  <c:v>766.43</c:v>
                </c:pt>
                <c:pt idx="2">
                  <c:v>894.27</c:v>
                </c:pt>
                <c:pt idx="3">
                  <c:v>482.2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7</c:v>
                </c:pt>
                <c:pt idx="2">
                  <c:v>IX 72</c:v>
                </c:pt>
                <c:pt idx="3">
                  <c:v>IX 100</c:v>
                </c:pt>
              </c:strCache>
            </c:strRef>
          </c:cat>
          <c:val>
            <c:numRef>
              <c:f>Sheet1!$D$2:$D$5</c:f>
              <c:numCache>
                <c:formatCode>General</c:formatCode>
                <c:ptCount val="4"/>
                <c:pt idx="0">
                  <c:v>1773.12</c:v>
                </c:pt>
                <c:pt idx="1">
                  <c:v>1017.95</c:v>
                </c:pt>
                <c:pt idx="2">
                  <c:v>1240.54</c:v>
                </c:pt>
                <c:pt idx="3">
                  <c:v>541.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7</c:v>
                </c:pt>
                <c:pt idx="2">
                  <c:v>IX 72</c:v>
                </c:pt>
                <c:pt idx="3">
                  <c:v>IX 100</c:v>
                </c:pt>
              </c:strCache>
            </c:strRef>
          </c:cat>
          <c:val>
            <c:numRef>
              <c:f>Sheet1!$E$2:$E$5</c:f>
              <c:numCache>
                <c:formatCode>General</c:formatCode>
                <c:ptCount val="4"/>
                <c:pt idx="0">
                  <c:v>8894.28</c:v>
                </c:pt>
                <c:pt idx="1">
                  <c:v>10259.39</c:v>
                </c:pt>
                <c:pt idx="3">
                  <c:v>251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6</c:v>
                </c:pt>
                <c:pt idx="1">
                  <c:v>IX 7</c:v>
                </c:pt>
                <c:pt idx="2">
                  <c:v>IX 72</c:v>
                </c:pt>
                <c:pt idx="3">
                  <c:v>IX 100</c:v>
                </c:pt>
              </c:strCache>
            </c:strRef>
          </c:cat>
          <c:val>
            <c:numRef>
              <c:f>Sheet1!$F$2:$F$5</c:f>
              <c:numCache>
                <c:formatCode>General</c:formatCode>
                <c:ptCount val="4"/>
                <c:pt idx="0">
                  <c:v>6401.52</c:v>
                </c:pt>
                <c:pt idx="1">
                  <c:v>7448.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9.89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B$2:$B$4</c:f>
              <c:numCache>
                <c:formatCode>General</c:formatCode>
                <c:ptCount val="3"/>
                <c:pt idx="0">
                  <c:v>1454.49</c:v>
                </c:pt>
                <c:pt idx="1">
                  <c:v>5692.15</c:v>
                </c:pt>
                <c:pt idx="2">
                  <c:v>102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35</a:t>
                    </a:r>
                  </a:p>
                  <a:p>
                    <a:r>
                      <a:t>4279.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C$2:$C$4</c:f>
              <c:numCache>
                <c:formatCode>General</c:formatCode>
                <c:ptCount val="3"/>
                <c:pt idx="0">
                  <c:v>4279.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D$2:$D$4</c:f>
              <c:numCache>
                <c:formatCode>General</c:formatCode>
                <c:ptCount val="3"/>
                <c:pt idx="0">
                  <c:v>1818.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E$2:$E$4</c:f>
              <c:numCache>
                <c:formatCode>General</c:formatCode>
                <c:ptCount val="3"/>
                <c:pt idx="1">
                  <c:v>6782.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F$2:$F$4</c:f>
              <c:numCache>
                <c:formatCode>General</c:formatCode>
                <c:ptCount val="3"/>
                <c:pt idx="1">
                  <c:v>9266.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66.73"/>
          <c:min val="1023.6972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3</c:v>
                </c:pt>
              </c:strCache>
            </c:strRef>
          </c:cat>
          <c:val>
            <c:numRef>
              <c:f>Sheet1!$B$2:$B$3</c:f>
              <c:numCache>
                <c:formatCode>General</c:formatCode>
                <c:ptCount val="2"/>
                <c:pt idx="0">
                  <c:v>5395.56</c:v>
                </c:pt>
                <c:pt idx="1">
                  <c:v>1320.1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3</a:t>
                    </a:r>
                  </a:p>
                  <a:p>
                    <a:r>
                      <a:t>932.0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3</c:v>
                </c:pt>
              </c:strCache>
            </c:strRef>
          </c:cat>
          <c:val>
            <c:numRef>
              <c:f>Sheet1!$C$2:$C$3</c:f>
              <c:numCache>
                <c:formatCode>General</c:formatCode>
                <c:ptCount val="2"/>
                <c:pt idx="1">
                  <c:v>932.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3</c:v>
                </c:pt>
              </c:strCache>
            </c:strRef>
          </c:cat>
          <c:val>
            <c:numRef>
              <c:f>Sheet1!$D$2:$D$3</c:f>
              <c:numCache>
                <c:formatCode>General</c:formatCode>
                <c:ptCount val="2"/>
                <c:pt idx="0">
                  <c:v>4747.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3</c:v>
                </c:pt>
              </c:strCache>
            </c:strRef>
          </c:cat>
          <c:val>
            <c:numRef>
              <c:f>Sheet1!$E$2:$E$3</c:f>
              <c:numCache>
                <c:formatCode>General</c:formatCode>
                <c:ptCount val="2"/>
                <c:pt idx="0">
                  <c:v>10291.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3</c:v>
                </c:pt>
              </c:strCache>
            </c:strRef>
          </c:cat>
          <c:val>
            <c:numRef>
              <c:f>Sheet1!$F$2:$F$3</c:f>
              <c:numCache>
                <c:formatCode>General</c:formatCode>
                <c:ptCount val="2"/>
                <c:pt idx="1">
                  <c:v>2846.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931.51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B$2:$B$3</c:f>
              <c:numCache>
                <c:formatCode>General</c:formatCode>
                <c:ptCount val="2"/>
                <c:pt idx="0">
                  <c:v>5395.56</c:v>
                </c:pt>
                <c:pt idx="1">
                  <c:v>1320.1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434.7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C$2:$C$3</c:f>
              <c:numCache>
                <c:formatCode>General</c:formatCode>
                <c:ptCount val="2"/>
                <c:pt idx="1">
                  <c:v>1434.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D$2:$D$3</c:f>
              <c:numCache>
                <c:formatCode>General</c:formatCode>
                <c:ptCount val="2"/>
                <c:pt idx="0">
                  <c:v>4747.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E$2:$E$3</c:f>
              <c:numCache>
                <c:formatCode>General</c:formatCode>
                <c:ptCount val="2"/>
                <c:pt idx="0">
                  <c:v>10291.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F$2:$F$3</c:f>
              <c:numCache>
                <c:formatCode>General</c:formatCode>
                <c:ptCount val="2"/>
                <c:pt idx="1">
                  <c:v>2846.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1319.66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B$2:$B$3</c:f>
              <c:numCache>
                <c:formatCode>General</c:formatCode>
                <c:ptCount val="2"/>
                <c:pt idx="0">
                  <c:v>1069.69</c:v>
                </c:pt>
                <c:pt idx="1">
                  <c:v>2598.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9</a:t>
                    </a:r>
                  </a:p>
                  <a:p>
                    <a:r>
                      <a:t>720.6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C$2:$C$3</c:f>
              <c:numCache>
                <c:formatCode>General</c:formatCode>
                <c:ptCount val="2"/>
                <c:pt idx="0">
                  <c:v>720.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D$2:$D$3</c:f>
              <c:numCache>
                <c:formatCode>General</c:formatCode>
                <c:ptCount val="2"/>
                <c:pt idx="0">
                  <c:v>1468.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E$2:$E$3</c:f>
              <c:numCache>
                <c:formatCode>General</c:formatCode>
                <c:ptCount val="2"/>
                <c:pt idx="0">
                  <c:v>581.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F$2:$F$3</c:f>
              <c:numCache>
                <c:formatCode>General</c:formatCode>
                <c:ptCount val="2"/>
                <c:pt idx="1">
                  <c:v>4060.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61.155"/>
          <c:min val="580.7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B$2:$B$3</c:f>
              <c:numCache>
                <c:formatCode>General</c:formatCode>
                <c:ptCount val="2"/>
                <c:pt idx="0">
                  <c:v>1069.69</c:v>
                </c:pt>
                <c:pt idx="1">
                  <c:v>2598.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1180.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C$2:$C$3</c:f>
              <c:numCache>
                <c:formatCode>General</c:formatCode>
                <c:ptCount val="2"/>
                <c:pt idx="0">
                  <c:v>1180.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D$2:$D$3</c:f>
              <c:numCache>
                <c:formatCode>General</c:formatCode>
                <c:ptCount val="2"/>
                <c:pt idx="0">
                  <c:v>1468.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E$2:$E$3</c:f>
              <c:numCache>
                <c:formatCode>General</c:formatCode>
                <c:ptCount val="2"/>
                <c:pt idx="0">
                  <c:v>581.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F$2:$F$3</c:f>
              <c:numCache>
                <c:formatCode>General</c:formatCode>
                <c:ptCount val="2"/>
                <c:pt idx="1">
                  <c:v>4060.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61.155"/>
          <c:min val="580.7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
                </c:pt>
                <c:pt idx="2">
                  <c:v>IX 100</c:v>
                </c:pt>
              </c:strCache>
            </c:strRef>
          </c:cat>
          <c:val>
            <c:numRef>
              <c:f>Sheet1!$B$2:$B$4</c:f>
              <c:numCache>
                <c:formatCode>General</c:formatCode>
                <c:ptCount val="3"/>
                <c:pt idx="0">
                  <c:v>1362.61</c:v>
                </c:pt>
                <c:pt idx="1">
                  <c:v>3222.92</c:v>
                </c:pt>
                <c:pt idx="2">
                  <c:v>1076.3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197.4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23.0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
                </c:pt>
                <c:pt idx="2">
                  <c:v>IX 100</c:v>
                </c:pt>
              </c:strCache>
            </c:strRef>
          </c:cat>
          <c:val>
            <c:numRef>
              <c:f>Sheet1!$C$2:$C$4</c:f>
              <c:numCache>
                <c:formatCode>General</c:formatCode>
                <c:ptCount val="3"/>
                <c:pt idx="0">
                  <c:v>1197.49</c:v>
                </c:pt>
                <c:pt idx="2">
                  <c:v>1123.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
                </c:pt>
                <c:pt idx="2">
                  <c:v>IX 100</c:v>
                </c:pt>
              </c:strCache>
            </c:strRef>
          </c:cat>
          <c:val>
            <c:numRef>
              <c:f>Sheet1!$D$2:$D$4</c:f>
              <c:numCache>
                <c:formatCode>General</c:formatCode>
                <c:ptCount val="3"/>
                <c:pt idx="0">
                  <c:v>1581.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
                </c:pt>
                <c:pt idx="2">
                  <c:v>IX 100</c:v>
                </c:pt>
              </c:strCache>
            </c:strRef>
          </c:cat>
          <c:val>
            <c:numRef>
              <c:f>Sheet1!$E$2:$E$4</c:f>
              <c:numCache>
                <c:formatCode>General</c:formatCode>
                <c:ptCount val="3"/>
                <c:pt idx="0">
                  <c:v>690.9</c:v>
                </c:pt>
                <c:pt idx="2">
                  <c:v>656.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eutrogen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
                </c:pt>
                <c:pt idx="2">
                  <c:v>IX 100</c:v>
                </c:pt>
              </c:strCache>
            </c:strRef>
          </c:cat>
          <c:val>
            <c:numRef>
              <c:f>Sheet1!$F$2:$F$4</c:f>
              <c:numCache>
                <c:formatCode>General</c:formatCode>
                <c:ptCount val="3"/>
                <c:pt idx="0">
                  <c:v>8694.35</c:v>
                </c:pt>
                <c:pt idx="1">
                  <c:v>2836.3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94.8548"/>
          <c:min val="655.716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B$2:$B$4</c:f>
              <c:numCache>
                <c:formatCode>General</c:formatCode>
                <c:ptCount val="3"/>
                <c:pt idx="0">
                  <c:v>1362.61</c:v>
                </c:pt>
                <c:pt idx="1">
                  <c:v>3222.92</c:v>
                </c:pt>
                <c:pt idx="2">
                  <c:v>1076.3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1268.3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92.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C$2:$C$4</c:f>
              <c:numCache>
                <c:formatCode>General</c:formatCode>
                <c:ptCount val="3"/>
                <c:pt idx="0">
                  <c:v>1268.37</c:v>
                </c:pt>
                <c:pt idx="2">
                  <c:v>1192.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D$2:$D$4</c:f>
              <c:numCache>
                <c:formatCode>General</c:formatCode>
                <c:ptCount val="3"/>
                <c:pt idx="0">
                  <c:v>1581.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E$2:$E$4</c:f>
              <c:numCache>
                <c:formatCode>General</c:formatCode>
                <c:ptCount val="3"/>
                <c:pt idx="0">
                  <c:v>690.9</c:v>
                </c:pt>
                <c:pt idx="2">
                  <c:v>656.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eutrogen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F$2:$F$4</c:f>
              <c:numCache>
                <c:formatCode>General</c:formatCode>
                <c:ptCount val="3"/>
                <c:pt idx="0">
                  <c:v>8694.35</c:v>
                </c:pt>
                <c:pt idx="1">
                  <c:v>2836.3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94.8548"/>
          <c:min val="655.716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B$2:$B$4</c:f>
              <c:numCache>
                <c:formatCode>General</c:formatCode>
                <c:ptCount val="3"/>
                <c:pt idx="0">
                  <c:v>1362.61</c:v>
                </c:pt>
                <c:pt idx="1">
                  <c:v>3222.92</c:v>
                </c:pt>
                <c:pt idx="2">
                  <c:v>1076.3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96</a:t>
                    </a:r>
                  </a:p>
                  <a:p>
                    <a:r>
                      <a:t>3103.4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C$2:$C$4</c:f>
              <c:numCache>
                <c:formatCode>General</c:formatCode>
                <c:ptCount val="3"/>
                <c:pt idx="0">
                  <c:v>3103.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D$2:$D$4</c:f>
              <c:numCache>
                <c:formatCode>General</c:formatCode>
                <c:ptCount val="3"/>
                <c:pt idx="0">
                  <c:v>1581.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E$2:$E$4</c:f>
              <c:numCache>
                <c:formatCode>General</c:formatCode>
                <c:ptCount val="3"/>
                <c:pt idx="0">
                  <c:v>690.9</c:v>
                </c:pt>
                <c:pt idx="2">
                  <c:v>656.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eutrogen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F$2:$F$4</c:f>
              <c:numCache>
                <c:formatCode>General</c:formatCode>
                <c:ptCount val="3"/>
                <c:pt idx="0">
                  <c:v>8694.35</c:v>
                </c:pt>
                <c:pt idx="1">
                  <c:v>2836.3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94.8548"/>
          <c:min val="655.716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B$2:$B$3</c:f>
              <c:numCache>
                <c:formatCode>General</c:formatCode>
                <c:ptCount val="2"/>
                <c:pt idx="0">
                  <c:v>1669.67</c:v>
                </c:pt>
                <c:pt idx="1">
                  <c:v>3464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a:t>
                    </a:r>
                  </a:p>
                  <a:p>
                    <a:r>
                      <a:t>1172.1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C$2:$C$3</c:f>
              <c:numCache>
                <c:formatCode>General</c:formatCode>
                <c:ptCount val="2"/>
                <c:pt idx="0">
                  <c:v>1172.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D$2:$D$3</c:f>
              <c:numCache>
                <c:formatCode>General</c:formatCode>
                <c:ptCount val="2"/>
                <c:pt idx="0">
                  <c:v>6498.6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E$2:$E$3</c:f>
              <c:numCache>
                <c:formatCode>General</c:formatCode>
                <c:ptCount val="2"/>
                <c:pt idx="1">
                  <c:v>327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641.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669.67</c:v>
                </c:pt>
                <c:pt idx="1">
                  <c:v>3464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848.5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848.5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498.6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327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641.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B$2:$B$5</c:f>
              <c:numCache>
                <c:formatCode>General</c:formatCode>
                <c:ptCount val="4"/>
                <c:pt idx="0">
                  <c:v>1980.32</c:v>
                </c:pt>
                <c:pt idx="1">
                  <c:v>5368.71</c:v>
                </c:pt>
                <c:pt idx="2">
                  <c:v>1055.42</c:v>
                </c:pt>
                <c:pt idx="3">
                  <c:v>524.8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1</a:t>
                    </a:r>
                  </a:p>
                  <a:p>
                    <a:r>
                      <a:t>4279.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C$2:$C$5</c:f>
              <c:numCache>
                <c:formatCode>General</c:formatCode>
                <c:ptCount val="4"/>
                <c:pt idx="0">
                  <c:v>4279.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D$2:$D$5</c:f>
              <c:numCache>
                <c:formatCode>General</c:formatCode>
                <c:ptCount val="4"/>
                <c:pt idx="0">
                  <c:v>1773.12</c:v>
                </c:pt>
                <c:pt idx="1">
                  <c:v>1017.95</c:v>
                </c:pt>
                <c:pt idx="2">
                  <c:v>1240.54</c:v>
                </c:pt>
                <c:pt idx="3">
                  <c:v>541.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E$2:$E$5</c:f>
              <c:numCache>
                <c:formatCode>General</c:formatCode>
                <c:ptCount val="4"/>
                <c:pt idx="0">
                  <c:v>8894.28</c:v>
                </c:pt>
                <c:pt idx="1">
                  <c:v>10259.39</c:v>
                </c:pt>
                <c:pt idx="3">
                  <c:v>251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1</c:v>
                </c:pt>
                <c:pt idx="1">
                  <c:v/>
                </c:pt>
                <c:pt idx="2">
                  <c:v/>
                </c:pt>
                <c:pt idx="3">
                  <c:v/>
                </c:pt>
              </c:strCache>
            </c:strRef>
          </c:cat>
          <c:val>
            <c:numRef>
              <c:f>Sheet1!$F$2:$F$5</c:f>
              <c:numCache>
                <c:formatCode>General</c:formatCode>
                <c:ptCount val="4"/>
                <c:pt idx="0">
                  <c:v>6401.52</c:v>
                </c:pt>
                <c:pt idx="1">
                  <c:v>7448.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9.89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B$2:$B$3</c:f>
              <c:numCache>
                <c:formatCode>General</c:formatCode>
                <c:ptCount val="2"/>
                <c:pt idx="0">
                  <c:v>1058.4</c:v>
                </c:pt>
                <c:pt idx="1">
                  <c:v>1811.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547.9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C$2:$C$3</c:f>
              <c:numCache>
                <c:formatCode>General</c:formatCode>
                <c:ptCount val="2"/>
                <c:pt idx="0">
                  <c:v>547.9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D$2:$D$3</c:f>
              <c:numCache>
                <c:formatCode>General</c:formatCode>
                <c:ptCount val="2"/>
                <c:pt idx="0">
                  <c:v>1398.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E$2:$E$3</c:f>
              <c:numCache>
                <c:formatCode>General</c:formatCode>
                <c:ptCount val="2"/>
                <c:pt idx="0">
                  <c:v>568.2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F$2:$F$3</c:f>
              <c:numCache>
                <c:formatCode>General</c:formatCode>
                <c:ptCount val="2"/>
                <c:pt idx="1">
                  <c:v>2743.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4.4655"/>
          <c:min val="547.41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B$2:$B$3</c:f>
              <c:numCache>
                <c:formatCode>General</c:formatCode>
                <c:ptCount val="2"/>
                <c:pt idx="0">
                  <c:v>1058.4</c:v>
                </c:pt>
                <c:pt idx="1">
                  <c:v>1811.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1115.4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C$2:$C$3</c:f>
              <c:numCache>
                <c:formatCode>General</c:formatCode>
                <c:ptCount val="2"/>
                <c:pt idx="0">
                  <c:v>1115.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D$2:$D$3</c:f>
              <c:numCache>
                <c:formatCode>General</c:formatCode>
                <c:ptCount val="2"/>
                <c:pt idx="0">
                  <c:v>1398.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E$2:$E$3</c:f>
              <c:numCache>
                <c:formatCode>General</c:formatCode>
                <c:ptCount val="2"/>
                <c:pt idx="0">
                  <c:v>568.2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0</c:v>
                </c:pt>
                <c:pt idx="1">
                  <c:v/>
                </c:pt>
              </c:strCache>
            </c:strRef>
          </c:cat>
          <c:val>
            <c:numRef>
              <c:f>Sheet1!$F$2:$F$3</c:f>
              <c:numCache>
                <c:formatCode>General</c:formatCode>
                <c:ptCount val="2"/>
                <c:pt idx="1">
                  <c:v>2743.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4.4655"/>
          <c:min val="567.75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381.26</c:v>
                </c:pt>
                <c:pt idx="1">
                  <c:v>4731.59</c:v>
                </c:pt>
                <c:pt idx="2">
                  <c:v>104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10.8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67.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210.84</c:v>
                </c:pt>
                <c:pt idx="2">
                  <c:v>1167.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681.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8819.46</c:v>
                </c:pt>
                <c:pt idx="1">
                  <c:v>3118.4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1">
                  <c:v>621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19.9595"/>
          <c:min val="1048.99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B$2:$B$4</c:f>
              <c:numCache>
                <c:formatCode>General</c:formatCode>
                <c:ptCount val="3"/>
                <c:pt idx="0">
                  <c:v>1381.26</c:v>
                </c:pt>
                <c:pt idx="1">
                  <c:v>4731.59</c:v>
                </c:pt>
                <c:pt idx="2">
                  <c:v>104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8</a:t>
                    </a:r>
                  </a:p>
                  <a:p>
                    <a:r>
                      <a:t>1146.1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01.0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C$2:$C$4</c:f>
              <c:numCache>
                <c:formatCode>General</c:formatCode>
                <c:ptCount val="3"/>
                <c:pt idx="0">
                  <c:v>1146.19</c:v>
                </c:pt>
                <c:pt idx="2">
                  <c:v>1201.0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D$2:$D$4</c:f>
              <c:numCache>
                <c:formatCode>General</c:formatCode>
                <c:ptCount val="3"/>
                <c:pt idx="0">
                  <c:v>1681.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E$2:$E$4</c:f>
              <c:numCache>
                <c:formatCode>General</c:formatCode>
                <c:ptCount val="3"/>
                <c:pt idx="0">
                  <c:v>8819.46</c:v>
                </c:pt>
                <c:pt idx="1">
                  <c:v>3118.4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F$2:$F$4</c:f>
              <c:numCache>
                <c:formatCode>General</c:formatCode>
                <c:ptCount val="3"/>
                <c:pt idx="1">
                  <c:v>621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19.9595"/>
          <c:min val="1048.99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381.26</c:v>
                </c:pt>
                <c:pt idx="1">
                  <c:v>4731.59</c:v>
                </c:pt>
                <c:pt idx="2">
                  <c:v>104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2</a:t>
                    </a:r>
                  </a:p>
                  <a:p>
                    <a:r>
                      <a:t>4233.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233.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681.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8819.46</c:v>
                </c:pt>
                <c:pt idx="1">
                  <c:v>3118.4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1">
                  <c:v>621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19.9595"/>
          <c:min val="1048.99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B$2:$B$3</c:f>
              <c:numCache>
                <c:formatCode>General</c:formatCode>
                <c:ptCount val="2"/>
                <c:pt idx="0">
                  <c:v>1308.1</c:v>
                </c:pt>
                <c:pt idx="1">
                  <c:v>10973.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a:t>
                    </a:r>
                  </a:p>
                  <a:p>
                    <a:r>
                      <a:t>727.5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C$2:$C$3</c:f>
              <c:numCache>
                <c:formatCode>General</c:formatCode>
                <c:ptCount val="2"/>
                <c:pt idx="0">
                  <c:v>727.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D$2:$D$3</c:f>
              <c:numCache>
                <c:formatCode>General</c:formatCode>
                <c:ptCount val="2"/>
                <c:pt idx="0">
                  <c:v>6703.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E$2:$E$3</c:f>
              <c:numCache>
                <c:formatCode>General</c:formatCode>
                <c:ptCount val="2"/>
                <c:pt idx="1">
                  <c:v>910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F$2:$F$3</c:f>
              <c:numCache>
                <c:formatCode>General</c:formatCode>
                <c:ptCount val="2"/>
                <c:pt idx="1">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727.04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08.1</c:v>
                </c:pt>
                <c:pt idx="1">
                  <c:v>10973.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609.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609.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703.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10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1307.60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B$2:$B$3</c:f>
              <c:numCache>
                <c:formatCode>General</c:formatCode>
                <c:ptCount val="2"/>
                <c:pt idx="0">
                  <c:v>1071.02</c:v>
                </c:pt>
                <c:pt idx="1">
                  <c:v>2593.4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594.5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C$2:$C$3</c:f>
              <c:numCache>
                <c:formatCode>General</c:formatCode>
                <c:ptCount val="2"/>
                <c:pt idx="0">
                  <c:v>594.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D$2:$D$3</c:f>
              <c:numCache>
                <c:formatCode>General</c:formatCode>
                <c:ptCount val="2"/>
                <c:pt idx="0">
                  <c:v>1442.7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E$2:$E$3</c:f>
              <c:numCache>
                <c:formatCode>General</c:formatCode>
                <c:ptCount val="2"/>
                <c:pt idx="0">
                  <c:v>614.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F$2:$F$3</c:f>
              <c:numCache>
                <c:formatCode>General</c:formatCode>
                <c:ptCount val="2"/>
                <c:pt idx="0">
                  <c:v>621.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3.9459"/>
          <c:min val="594.01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B$2:$B$3</c:f>
              <c:numCache>
                <c:formatCode>General</c:formatCode>
                <c:ptCount val="2"/>
                <c:pt idx="0">
                  <c:v>1071.02</c:v>
                </c:pt>
                <c:pt idx="1">
                  <c:v>2593.4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4</a:t>
                    </a:r>
                  </a:p>
                  <a:p>
                    <a:r>
                      <a:t>1207.6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C$2:$C$3</c:f>
              <c:numCache>
                <c:formatCode>General</c:formatCode>
                <c:ptCount val="2"/>
                <c:pt idx="0">
                  <c:v>1207.6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D$2:$D$3</c:f>
              <c:numCache>
                <c:formatCode>General</c:formatCode>
                <c:ptCount val="2"/>
                <c:pt idx="0">
                  <c:v>1442.7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E$2:$E$3</c:f>
              <c:numCache>
                <c:formatCode>General</c:formatCode>
                <c:ptCount val="2"/>
                <c:pt idx="0">
                  <c:v>614.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F$2:$F$3</c:f>
              <c:numCache>
                <c:formatCode>General</c:formatCode>
                <c:ptCount val="2"/>
                <c:pt idx="0">
                  <c:v>621.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3.9459"/>
          <c:min val="614.22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B$2:$B$4</c:f>
              <c:numCache>
                <c:formatCode>General</c:formatCode>
                <c:ptCount val="3"/>
                <c:pt idx="0">
                  <c:v>1391.74</c:v>
                </c:pt>
                <c:pt idx="1">
                  <c:v>4830.95</c:v>
                </c:pt>
                <c:pt idx="2">
                  <c:v>112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64.5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97.4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C$2:$C$4</c:f>
              <c:numCache>
                <c:formatCode>General</c:formatCode>
                <c:ptCount val="3"/>
                <c:pt idx="0">
                  <c:v>1264.57</c:v>
                </c:pt>
                <c:pt idx="2">
                  <c:v>1197.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D$2:$D$4</c:f>
              <c:numCache>
                <c:formatCode>General</c:formatCode>
                <c:ptCount val="3"/>
                <c:pt idx="0">
                  <c:v>1727.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E$2:$E$4</c:f>
              <c:numCache>
                <c:formatCode>General</c:formatCode>
                <c:ptCount val="3"/>
                <c:pt idx="0">
                  <c:v>8292.6</c:v>
                </c:pt>
                <c:pt idx="1">
                  <c:v>3401.56</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F$2:$F$4</c:f>
              <c:numCache>
                <c:formatCode>General</c:formatCode>
                <c:ptCount val="3"/>
                <c:pt idx="1">
                  <c:v>6176.7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93.1"/>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B$2:$B$5</c:f>
              <c:numCache>
                <c:formatCode>General</c:formatCode>
                <c:ptCount val="4"/>
                <c:pt idx="0">
                  <c:v>1379.99</c:v>
                </c:pt>
                <c:pt idx="1">
                  <c:v>1175.47</c:v>
                </c:pt>
                <c:pt idx="2">
                  <c:v>631.64</c:v>
                </c:pt>
                <c:pt idx="3">
                  <c:v>1565.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177.5</a:t>
                    </a:r>
                  </a:p>
                </c:rich>
              </c:tx>
              <c:dLblPos val="l"/>
              <c:showLegendKey val="0"/>
              <c:showVal val="1"/>
              <c:showCatName val="0"/>
              <c:showSerName val="0"/>
              <c:showPercent val="0"/>
              <c:showBubbleSize val="0"/>
            </c:dLbl>
            <c:dLbl>
              <c:idx val="1"/>
              <c:tx>
                <c:rich>
                  <a:bodyPr/>
                  <a:lstStyle/>
                  <a:p>
                    <a:r>
                      <a:t>IX 100</a:t>
                    </a:r>
                  </a:p>
                  <a:p>
                    <a:r>
                      <a:t>1135.24</a:t>
                    </a:r>
                  </a:p>
                </c:rich>
              </c:tx>
              <c:dLblPos val="l"/>
              <c:showLegendKey val="0"/>
              <c:showVal val="1"/>
              <c:showCatName val="0"/>
              <c:showSerName val="0"/>
              <c:showPercent val="0"/>
              <c:showBubbleSize val="0"/>
            </c:dLbl>
            <c:dLbl>
              <c:idx val="2"/>
              <c:tx>
                <c:rich>
                  <a:bodyPr/>
                  <a:lstStyle/>
                  <a:p>
                    <a:r>
                      <a:t>IX 100</a:t>
                    </a:r>
                  </a:p>
                  <a:p>
                    <a:r>
                      <a:t>627.8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C$2:$C$5</c:f>
              <c:numCache>
                <c:formatCode>General</c:formatCode>
                <c:ptCount val="4"/>
                <c:pt idx="0">
                  <c:v>1177.5</c:v>
                </c:pt>
                <c:pt idx="1">
                  <c:v>1135.24</c:v>
                </c:pt>
                <c:pt idx="2">
                  <c:v>627.8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D$2:$D$5</c:f>
              <c:numCache>
                <c:formatCode>General</c:formatCode>
                <c:ptCount val="4"/>
                <c:pt idx="0">
                  <c:v>1557.91</c:v>
                </c:pt>
                <c:pt idx="1">
                  <c:v>1215.65</c:v>
                </c:pt>
                <c:pt idx="2">
                  <c:v>586.2</c:v>
                </c:pt>
                <c:pt idx="3">
                  <c:v>240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E$2:$E$5</c:f>
              <c:numCache>
                <c:formatCode>General</c:formatCode>
                <c:ptCount val="4"/>
                <c:pt idx="0">
                  <c:v>2876.15</c:v>
                </c:pt>
                <c:pt idx="3">
                  <c:v>5419.3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F$2:$F$5</c:f>
              <c:numCache>
                <c:formatCode>General</c:formatCode>
                <c:ptCount val="4"/>
                <c:pt idx="0">
                  <c:v>1848.2</c:v>
                </c:pt>
                <c:pt idx="1">
                  <c:v>1151.24</c:v>
                </c:pt>
                <c:pt idx="2">
                  <c:v>929.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19.8889"/>
          <c:min val="585.70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B$2:$B$4</c:f>
              <c:numCache>
                <c:formatCode>General</c:formatCode>
                <c:ptCount val="3"/>
                <c:pt idx="0">
                  <c:v>1391.74</c:v>
                </c:pt>
                <c:pt idx="1">
                  <c:v>4830.95</c:v>
                </c:pt>
                <c:pt idx="2">
                  <c:v>112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21.9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90.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C$2:$C$4</c:f>
              <c:numCache>
                <c:formatCode>General</c:formatCode>
                <c:ptCount val="3"/>
                <c:pt idx="0">
                  <c:v>1221.94</c:v>
                </c:pt>
                <c:pt idx="2">
                  <c:v>1290.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D$2:$D$4</c:f>
              <c:numCache>
                <c:formatCode>General</c:formatCode>
                <c:ptCount val="3"/>
                <c:pt idx="0">
                  <c:v>1727.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E$2:$E$4</c:f>
              <c:numCache>
                <c:formatCode>General</c:formatCode>
                <c:ptCount val="3"/>
                <c:pt idx="0">
                  <c:v>8292.6</c:v>
                </c:pt>
                <c:pt idx="1">
                  <c:v>3401.56</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F$2:$F$4</c:f>
              <c:numCache>
                <c:formatCode>General</c:formatCode>
                <c:ptCount val="3"/>
                <c:pt idx="1">
                  <c:v>6176.7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93.1"/>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B$2:$B$4</c:f>
              <c:numCache>
                <c:formatCode>General</c:formatCode>
                <c:ptCount val="3"/>
                <c:pt idx="0">
                  <c:v>1391.74</c:v>
                </c:pt>
                <c:pt idx="1">
                  <c:v>4830.95</c:v>
                </c:pt>
                <c:pt idx="2">
                  <c:v>1124.4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0</a:t>
                    </a:r>
                  </a:p>
                  <a:p>
                    <a:r>
                      <a:t>4326.9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C$2:$C$4</c:f>
              <c:numCache>
                <c:formatCode>General</c:formatCode>
                <c:ptCount val="3"/>
                <c:pt idx="0">
                  <c:v>4326.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D$2:$D$4</c:f>
              <c:numCache>
                <c:formatCode>General</c:formatCode>
                <c:ptCount val="3"/>
                <c:pt idx="0">
                  <c:v>1727.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E$2:$E$4</c:f>
              <c:numCache>
                <c:formatCode>General</c:formatCode>
                <c:ptCount val="3"/>
                <c:pt idx="0">
                  <c:v>8292.6</c:v>
                </c:pt>
                <c:pt idx="1">
                  <c:v>3401.56</c:v>
                </c:pt>
                <c:pt idx="2">
                  <c:v>19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F$2:$F$4</c:f>
              <c:numCache>
                <c:formatCode>General</c:formatCode>
                <c:ptCount val="3"/>
                <c:pt idx="1">
                  <c:v>6176.7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93.1"/>
          <c:min val="198.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B$2:$B$3</c:f>
              <c:numCache>
                <c:formatCode>General</c:formatCode>
                <c:ptCount val="2"/>
                <c:pt idx="0">
                  <c:v>1310.51</c:v>
                </c:pt>
                <c:pt idx="1">
                  <c:v>10215.7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a:t>
                    </a:r>
                  </a:p>
                  <a:p>
                    <a:r>
                      <a:t>827.0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C$2:$C$3</c:f>
              <c:numCache>
                <c:formatCode>General</c:formatCode>
                <c:ptCount val="2"/>
                <c:pt idx="0">
                  <c:v>827.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D$2:$D$3</c:f>
              <c:numCache>
                <c:formatCode>General</c:formatCode>
                <c:ptCount val="2"/>
                <c:pt idx="0">
                  <c:v>9001.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E$2:$E$3</c:f>
              <c:numCache>
                <c:formatCode>General</c:formatCode>
                <c:ptCount val="2"/>
                <c:pt idx="1">
                  <c:v>9039.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F$2:$F$3</c:f>
              <c:numCache>
                <c:formatCode>General</c:formatCode>
                <c:ptCount val="2"/>
                <c:pt idx="1">
                  <c:v>15252.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253.125"/>
          <c:min val="826.532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10.51</c:v>
                </c:pt>
                <c:pt idx="1">
                  <c:v>10215.7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571.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571.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9001.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039.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5252.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253.125"/>
          <c:min val="1310.014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B$2:$B$3</c:f>
              <c:numCache>
                <c:formatCode>General</c:formatCode>
                <c:ptCount val="2"/>
                <c:pt idx="0">
                  <c:v>1093.51</c:v>
                </c:pt>
                <c:pt idx="1">
                  <c:v>2485.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3</a:t>
                    </a:r>
                  </a:p>
                  <a:p>
                    <a:r>
                      <a:t>645.6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C$2:$C$3</c:f>
              <c:numCache>
                <c:formatCode>General</c:formatCode>
                <c:ptCount val="2"/>
                <c:pt idx="0">
                  <c:v>645.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D$2:$D$3</c:f>
              <c:numCache>
                <c:formatCode>General</c:formatCode>
                <c:ptCount val="2"/>
                <c:pt idx="0">
                  <c:v>149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E$2:$E$3</c:f>
              <c:numCache>
                <c:formatCode>General</c:formatCode>
                <c:ptCount val="2"/>
                <c:pt idx="0">
                  <c:v>600.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F$2:$F$3</c:f>
              <c:numCache>
                <c:formatCode>General</c:formatCode>
                <c:ptCount val="2"/>
                <c:pt idx="1">
                  <c:v>4775.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76.125"/>
          <c:min val="599.58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B$2:$B$3</c:f>
              <c:numCache>
                <c:formatCode>General</c:formatCode>
                <c:ptCount val="2"/>
                <c:pt idx="0">
                  <c:v>1093.51</c:v>
                </c:pt>
                <c:pt idx="1">
                  <c:v>2485.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7</a:t>
                    </a:r>
                  </a:p>
                  <a:p>
                    <a:r>
                      <a:t>1293.8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C$2:$C$3</c:f>
              <c:numCache>
                <c:formatCode>General</c:formatCode>
                <c:ptCount val="2"/>
                <c:pt idx="0">
                  <c:v>1293.8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D$2:$D$3</c:f>
              <c:numCache>
                <c:formatCode>General</c:formatCode>
                <c:ptCount val="2"/>
                <c:pt idx="0">
                  <c:v>149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E$2:$E$3</c:f>
              <c:numCache>
                <c:formatCode>General</c:formatCode>
                <c:ptCount val="2"/>
                <c:pt idx="0">
                  <c:v>600.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F$2:$F$3</c:f>
              <c:numCache>
                <c:formatCode>General</c:formatCode>
                <c:ptCount val="2"/>
                <c:pt idx="1">
                  <c:v>4775.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76.125"/>
          <c:min val="599.58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B$2:$B$4</c:f>
              <c:numCache>
                <c:formatCode>General</c:formatCode>
                <c:ptCount val="3"/>
                <c:pt idx="0">
                  <c:v>1482.02</c:v>
                </c:pt>
                <c:pt idx="1">
                  <c:v>4208.59</c:v>
                </c:pt>
                <c:pt idx="2">
                  <c:v>118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72.9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06.6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C$2:$C$4</c:f>
              <c:numCache>
                <c:formatCode>General</c:formatCode>
                <c:ptCount val="3"/>
                <c:pt idx="0">
                  <c:v>1272.93</c:v>
                </c:pt>
                <c:pt idx="2">
                  <c:v>1206.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D$2:$D$4</c:f>
              <c:numCache>
                <c:formatCode>General</c:formatCode>
                <c:ptCount val="3"/>
                <c:pt idx="0">
                  <c:v>1745.9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E$2:$E$4</c:f>
              <c:numCache>
                <c:formatCode>General</c:formatCode>
                <c:ptCount val="3"/>
                <c:pt idx="0">
                  <c:v>8191.06</c:v>
                </c:pt>
                <c:pt idx="1">
                  <c:v>3297.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F$2:$F$4</c:f>
              <c:numCache>
                <c:formatCode>General</c:formatCode>
                <c:ptCount val="3"/>
                <c:pt idx="1">
                  <c:v>6749.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191.5645"/>
          <c:min val="1182.3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B$2:$B$4</c:f>
              <c:numCache>
                <c:formatCode>General</c:formatCode>
                <c:ptCount val="3"/>
                <c:pt idx="0">
                  <c:v>1482.02</c:v>
                </c:pt>
                <c:pt idx="1">
                  <c:v>4208.59</c:v>
                </c:pt>
                <c:pt idx="2">
                  <c:v>118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80.6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16.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C$2:$C$4</c:f>
              <c:numCache>
                <c:formatCode>General</c:formatCode>
                <c:ptCount val="3"/>
                <c:pt idx="0">
                  <c:v>1280.69</c:v>
                </c:pt>
                <c:pt idx="2">
                  <c:v>1316.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D$2:$D$4</c:f>
              <c:numCache>
                <c:formatCode>General</c:formatCode>
                <c:ptCount val="3"/>
                <c:pt idx="0">
                  <c:v>1745.9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E$2:$E$4</c:f>
              <c:numCache>
                <c:formatCode>General</c:formatCode>
                <c:ptCount val="3"/>
                <c:pt idx="0">
                  <c:v>8191.06</c:v>
                </c:pt>
                <c:pt idx="1">
                  <c:v>3297.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
                </c:pt>
                <c:pt idx="2">
                  <c:v>IX 100</c:v>
                </c:pt>
              </c:strCache>
            </c:strRef>
          </c:cat>
          <c:val>
            <c:numRef>
              <c:f>Sheet1!$F$2:$F$4</c:f>
              <c:numCache>
                <c:formatCode>General</c:formatCode>
                <c:ptCount val="3"/>
                <c:pt idx="1">
                  <c:v>6749.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191.5645"/>
          <c:min val="1182.3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B$2:$B$4</c:f>
              <c:numCache>
                <c:formatCode>General</c:formatCode>
                <c:ptCount val="3"/>
                <c:pt idx="0">
                  <c:v>1482.02</c:v>
                </c:pt>
                <c:pt idx="1">
                  <c:v>4208.59</c:v>
                </c:pt>
                <c:pt idx="2">
                  <c:v>118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8</a:t>
                    </a:r>
                  </a:p>
                  <a:p>
                    <a:r>
                      <a:t>4326.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C$2:$C$4</c:f>
              <c:numCache>
                <c:formatCode>General</c:formatCode>
                <c:ptCount val="3"/>
                <c:pt idx="0">
                  <c:v>4326.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D$2:$D$4</c:f>
              <c:numCache>
                <c:formatCode>General</c:formatCode>
                <c:ptCount val="3"/>
                <c:pt idx="0">
                  <c:v>1745.9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E$2:$E$4</c:f>
              <c:numCache>
                <c:formatCode>General</c:formatCode>
                <c:ptCount val="3"/>
                <c:pt idx="0">
                  <c:v>8191.06</c:v>
                </c:pt>
                <c:pt idx="1">
                  <c:v>3297.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F$2:$F$4</c:f>
              <c:numCache>
                <c:formatCode>General</c:formatCode>
                <c:ptCount val="3"/>
                <c:pt idx="1">
                  <c:v>6749.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191.5645"/>
          <c:min val="1182.3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B$2:$B$3</c:f>
              <c:numCache>
                <c:formatCode>General</c:formatCode>
                <c:ptCount val="2"/>
                <c:pt idx="0">
                  <c:v>1415.36</c:v>
                </c:pt>
                <c:pt idx="1">
                  <c:v>10633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a:t>
                    </a:r>
                  </a:p>
                  <a:p>
                    <a:r>
                      <a:t>1184.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C$2:$C$3</c:f>
              <c:numCache>
                <c:formatCode>General</c:formatCode>
                <c:ptCount val="2"/>
                <c:pt idx="0">
                  <c:v>1184.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D$2:$D$3</c:f>
              <c:numCache>
                <c:formatCode>General</c:formatCode>
                <c:ptCount val="2"/>
                <c:pt idx="0">
                  <c:v>12740.3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E$2:$E$3</c:f>
              <c:numCache>
                <c:formatCode>General</c:formatCode>
                <c:ptCount val="2"/>
                <c:pt idx="1">
                  <c:v>8410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6331.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80</c:v>
                </c:pt>
                <c:pt idx="2">
                  <c:v>IX 100</c:v>
                </c:pt>
                <c:pt idx="3">
                  <c:v/>
                </c:pt>
              </c:strCache>
            </c:strRef>
          </c:cat>
          <c:val>
            <c:numRef>
              <c:f>Sheet1!$B$2:$B$5</c:f>
              <c:numCache>
                <c:formatCode>General</c:formatCode>
                <c:ptCount val="4"/>
                <c:pt idx="0">
                  <c:v>1379.99</c:v>
                </c:pt>
                <c:pt idx="1">
                  <c:v>1175.47</c:v>
                </c:pt>
                <c:pt idx="2">
                  <c:v>631.64</c:v>
                </c:pt>
                <c:pt idx="3">
                  <c:v>1565.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7</a:t>
                    </a:r>
                  </a:p>
                  <a:p>
                    <a:r>
                      <a:t>1203.7</a:t>
                    </a:r>
                  </a:p>
                </c:rich>
              </c:tx>
              <c:dLblPos val="l"/>
              <c:showLegendKey val="0"/>
              <c:showVal val="1"/>
              <c:showCatName val="0"/>
              <c:showSerName val="0"/>
              <c:showPercent val="0"/>
              <c:showBubbleSize val="0"/>
            </c:dLbl>
            <c:dLbl>
              <c:idx val="1"/>
              <c:tx>
                <c:rich>
                  <a:bodyPr/>
                  <a:lstStyle/>
                  <a:p>
                    <a:r>
                      <a:t>IX 80</a:t>
                    </a:r>
                  </a:p>
                  <a:p>
                    <a:r>
                      <a:t>974.75</a:t>
                    </a:r>
                  </a:p>
                </c:rich>
              </c:tx>
              <c:dLblPos val="l"/>
              <c:showLegendKey val="0"/>
              <c:showVal val="1"/>
              <c:showCatName val="0"/>
              <c:showSerName val="0"/>
              <c:showPercent val="0"/>
              <c:showBubbleSize val="0"/>
            </c:dLbl>
            <c:dLbl>
              <c:idx val="2"/>
              <c:tx>
                <c:rich>
                  <a:bodyPr/>
                  <a:lstStyle/>
                  <a:p>
                    <a:r>
                      <a:t>IX 100</a:t>
                    </a:r>
                  </a:p>
                  <a:p>
                    <a:r>
                      <a:t>424.4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80</c:v>
                </c:pt>
                <c:pt idx="2">
                  <c:v>IX 100</c:v>
                </c:pt>
                <c:pt idx="3">
                  <c:v/>
                </c:pt>
              </c:strCache>
            </c:strRef>
          </c:cat>
          <c:val>
            <c:numRef>
              <c:f>Sheet1!$C$2:$C$5</c:f>
              <c:numCache>
                <c:formatCode>General</c:formatCode>
                <c:ptCount val="4"/>
                <c:pt idx="0">
                  <c:v>1203.7</c:v>
                </c:pt>
                <c:pt idx="1">
                  <c:v>974.75</c:v>
                </c:pt>
                <c:pt idx="2">
                  <c:v>424.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80</c:v>
                </c:pt>
                <c:pt idx="2">
                  <c:v>IX 100</c:v>
                </c:pt>
                <c:pt idx="3">
                  <c:v/>
                </c:pt>
              </c:strCache>
            </c:strRef>
          </c:cat>
          <c:val>
            <c:numRef>
              <c:f>Sheet1!$D$2:$D$5</c:f>
              <c:numCache>
                <c:formatCode>General</c:formatCode>
                <c:ptCount val="4"/>
                <c:pt idx="0">
                  <c:v>1557.91</c:v>
                </c:pt>
                <c:pt idx="1">
                  <c:v>1215.65</c:v>
                </c:pt>
                <c:pt idx="2">
                  <c:v>586.2</c:v>
                </c:pt>
                <c:pt idx="3">
                  <c:v>240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80</c:v>
                </c:pt>
                <c:pt idx="2">
                  <c:v>IX 100</c:v>
                </c:pt>
                <c:pt idx="3">
                  <c:v/>
                </c:pt>
              </c:strCache>
            </c:strRef>
          </c:cat>
          <c:val>
            <c:numRef>
              <c:f>Sheet1!$E$2:$E$5</c:f>
              <c:numCache>
                <c:formatCode>General</c:formatCode>
                <c:ptCount val="4"/>
                <c:pt idx="0">
                  <c:v>2876.15</c:v>
                </c:pt>
                <c:pt idx="3">
                  <c:v>5419.3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80</c:v>
                </c:pt>
                <c:pt idx="2">
                  <c:v>IX 100</c:v>
                </c:pt>
                <c:pt idx="3">
                  <c:v/>
                </c:pt>
              </c:strCache>
            </c:strRef>
          </c:cat>
          <c:val>
            <c:numRef>
              <c:f>Sheet1!$F$2:$F$5</c:f>
              <c:numCache>
                <c:formatCode>General</c:formatCode>
                <c:ptCount val="4"/>
                <c:pt idx="0">
                  <c:v>1848.2</c:v>
                </c:pt>
                <c:pt idx="1">
                  <c:v>1151.24</c:v>
                </c:pt>
                <c:pt idx="2">
                  <c:v>929.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19.8889"/>
          <c:min val="423.9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415.36</c:v>
                </c:pt>
                <c:pt idx="1">
                  <c:v>10633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590.9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590.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12740.3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8410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6331.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
                </c:pt>
              </c:strCache>
            </c:strRef>
          </c:cat>
          <c:val>
            <c:numRef>
              <c:f>Sheet1!$B$2:$B$3</c:f>
              <c:numCache>
                <c:formatCode>General</c:formatCode>
                <c:ptCount val="2"/>
                <c:pt idx="0">
                  <c:v>1192.12</c:v>
                </c:pt>
                <c:pt idx="1">
                  <c:v>1693.9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6</a:t>
                    </a:r>
                  </a:p>
                  <a:p>
                    <a:r>
                      <a:t>533.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
                </c:pt>
              </c:strCache>
            </c:strRef>
          </c:cat>
          <c:val>
            <c:numRef>
              <c:f>Sheet1!$C$2:$C$3</c:f>
              <c:numCache>
                <c:formatCode>General</c:formatCode>
                <c:ptCount val="2"/>
                <c:pt idx="0">
                  <c:v>533.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
                </c:pt>
              </c:strCache>
            </c:strRef>
          </c:cat>
          <c:val>
            <c:numRef>
              <c:f>Sheet1!$D$2:$D$3</c:f>
              <c:numCache>
                <c:formatCode>General</c:formatCode>
                <c:ptCount val="2"/>
                <c:pt idx="0">
                  <c:v>1489.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
                </c:pt>
              </c:strCache>
            </c:strRef>
          </c:cat>
          <c:val>
            <c:numRef>
              <c:f>Sheet1!$E$2:$E$3</c:f>
              <c:numCache>
                <c:formatCode>General</c:formatCode>
                <c:ptCount val="2"/>
                <c:pt idx="0">
                  <c:v>586.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
                </c:pt>
              </c:strCache>
            </c:strRef>
          </c:cat>
          <c:val>
            <c:numRef>
              <c:f>Sheet1!$F$2:$F$3</c:f>
              <c:numCache>
                <c:formatCode>General</c:formatCode>
                <c:ptCount val="2"/>
                <c:pt idx="1">
                  <c:v>8193.7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194.2857"/>
          <c:min val="532.7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B$2:$B$3</c:f>
              <c:numCache>
                <c:formatCode>General</c:formatCode>
                <c:ptCount val="2"/>
                <c:pt idx="0">
                  <c:v>1192.12</c:v>
                </c:pt>
                <c:pt idx="1">
                  <c:v>1693.9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8</a:t>
                    </a:r>
                  </a:p>
                  <a:p>
                    <a:r>
                      <a:t>1311.6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C$2:$C$3</c:f>
              <c:numCache>
                <c:formatCode>General</c:formatCode>
                <c:ptCount val="2"/>
                <c:pt idx="0">
                  <c:v>1311.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D$2:$D$3</c:f>
              <c:numCache>
                <c:formatCode>General</c:formatCode>
                <c:ptCount val="2"/>
                <c:pt idx="0">
                  <c:v>1489.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E$2:$E$3</c:f>
              <c:numCache>
                <c:formatCode>General</c:formatCode>
                <c:ptCount val="2"/>
                <c:pt idx="0">
                  <c:v>586.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F$2:$F$3</c:f>
              <c:numCache>
                <c:formatCode>General</c:formatCode>
                <c:ptCount val="2"/>
                <c:pt idx="1">
                  <c:v>8193.7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194.2857"/>
          <c:min val="585.724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594.16</c:v>
                </c:pt>
                <c:pt idx="1">
                  <c:v>5296.23</c:v>
                </c:pt>
                <c:pt idx="2">
                  <c:v>121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405.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56.9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405.43</c:v>
                </c:pt>
                <c:pt idx="2">
                  <c:v>1356.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947.62</c:v>
                </c:pt>
                <c:pt idx="1">
                  <c:v>9401.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9101.64</c:v>
                </c:pt>
                <c:pt idx="1">
                  <c:v>3714.3</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1">
                  <c:v>6979.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402.406"/>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805.85</c:v>
                </c:pt>
                <c:pt idx="1">
                  <c:v>9857.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574.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57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021.3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7963.0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1574.40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B$2:$B$3</c:f>
              <c:numCache>
                <c:formatCode>General</c:formatCode>
                <c:ptCount val="2"/>
                <c:pt idx="0">
                  <c:v>1213.34</c:v>
                </c:pt>
                <c:pt idx="1">
                  <c:v>2625.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1376.9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C$2:$C$3</c:f>
              <c:numCache>
                <c:formatCode>General</c:formatCode>
                <c:ptCount val="2"/>
                <c:pt idx="0">
                  <c:v>1376.9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D$2:$D$3</c:f>
              <c:numCache>
                <c:formatCode>General</c:formatCode>
                <c:ptCount val="2"/>
                <c:pt idx="0">
                  <c:v>1634.45</c:v>
                </c:pt>
                <c:pt idx="1">
                  <c:v>3256.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E$2:$E$3</c:f>
              <c:numCache>
                <c:formatCode>General</c:formatCode>
                <c:ptCount val="2"/>
                <c:pt idx="0">
                  <c:v>615.8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F$2:$F$3</c:f>
              <c:numCache>
                <c:formatCode>General</c:formatCode>
                <c:ptCount val="2"/>
                <c:pt idx="0">
                  <c:v>625.8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56.5049"/>
          <c:min val="615.34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B$2:$B$4</c:f>
              <c:numCache>
                <c:formatCode>General</c:formatCode>
                <c:ptCount val="3"/>
                <c:pt idx="0">
                  <c:v>1652.52</c:v>
                </c:pt>
                <c:pt idx="1">
                  <c:v>5143.72</c:v>
                </c:pt>
                <c:pt idx="2">
                  <c:v>1191.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414.9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78.8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C$2:$C$4</c:f>
              <c:numCache>
                <c:formatCode>General</c:formatCode>
                <c:ptCount val="3"/>
                <c:pt idx="0">
                  <c:v>1414.98</c:v>
                </c:pt>
                <c:pt idx="2">
                  <c:v>1378.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D$2:$D$4</c:f>
              <c:numCache>
                <c:formatCode>General</c:formatCode>
                <c:ptCount val="3"/>
                <c:pt idx="0">
                  <c:v>2037.78</c:v>
                </c:pt>
                <c:pt idx="1">
                  <c:v>9683.5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E$2:$E$4</c:f>
              <c:numCache>
                <c:formatCode>General</c:formatCode>
                <c:ptCount val="3"/>
                <c:pt idx="0">
                  <c:v>9778.68</c:v>
                </c:pt>
                <c:pt idx="1">
                  <c:v>382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F$2:$F$4</c:f>
              <c:numCache>
                <c:formatCode>General</c:formatCode>
                <c:ptCount val="3"/>
                <c:pt idx="1">
                  <c:v>7018.3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79.179"/>
          <c:min val="1191.4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989.78</c:v>
                </c:pt>
                <c:pt idx="1">
                  <c:v>11967.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615.0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615.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5825.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10250.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8163.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614.53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B$2:$B$3</c:f>
              <c:numCache>
                <c:formatCode>General</c:formatCode>
                <c:ptCount val="2"/>
                <c:pt idx="0">
                  <c:v>1202.38</c:v>
                </c:pt>
                <c:pt idx="1">
                  <c:v>2540.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3</a:t>
                    </a:r>
                  </a:p>
                  <a:p>
                    <a:r>
                      <a:t>1371.8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C$2:$C$3</c:f>
              <c:numCache>
                <c:formatCode>General</c:formatCode>
                <c:ptCount val="2"/>
                <c:pt idx="0">
                  <c:v>1371.8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D$2:$D$3</c:f>
              <c:numCache>
                <c:formatCode>General</c:formatCode>
                <c:ptCount val="2"/>
                <c:pt idx="0">
                  <c:v>1662.34</c:v>
                </c:pt>
                <c:pt idx="1">
                  <c:v>3360.9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E$2:$E$3</c:f>
              <c:numCache>
                <c:formatCode>General</c:formatCode>
                <c:ptCount val="2"/>
                <c:pt idx="0">
                  <c:v>602.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F$2:$F$3</c:f>
              <c:numCache>
                <c:formatCode>General</c:formatCode>
                <c:ptCount val="2"/>
                <c:pt idx="0">
                  <c:v>629.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1.4733"/>
          <c:min val="602.21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B$2:$B$4</c:f>
              <c:numCache>
                <c:formatCode>General</c:formatCode>
                <c:ptCount val="3"/>
                <c:pt idx="0">
                  <c:v>1620.35</c:v>
                </c:pt>
                <c:pt idx="1">
                  <c:v>6414.36</c:v>
                </c:pt>
                <c:pt idx="2">
                  <c:v>1149.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1363.9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88.0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C$2:$C$4</c:f>
              <c:numCache>
                <c:formatCode>General</c:formatCode>
                <c:ptCount val="3"/>
                <c:pt idx="0">
                  <c:v>1363.97</c:v>
                </c:pt>
                <c:pt idx="2">
                  <c:v>1288.0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D$2:$D$4</c:f>
              <c:numCache>
                <c:formatCode>General</c:formatCode>
                <c:ptCount val="3"/>
                <c:pt idx="0">
                  <c:v>2038.02</c:v>
                </c:pt>
                <c:pt idx="1">
                  <c:v>9307.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E$2:$E$4</c:f>
              <c:numCache>
                <c:formatCode>General</c:formatCode>
                <c:ptCount val="3"/>
                <c:pt idx="0">
                  <c:v>5590.05</c:v>
                </c:pt>
                <c:pt idx="1">
                  <c:v>9011.5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F$2:$F$4</c:f>
              <c:numCache>
                <c:formatCode>General</c:formatCode>
                <c:ptCount val="3"/>
                <c:pt idx="1">
                  <c:v>7520.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08.3449"/>
          <c:min val="1148.5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99</c:v>
                </c:pt>
                <c:pt idx="1">
                  <c:v/>
                </c:pt>
                <c:pt idx="2">
                  <c:v/>
                </c:pt>
                <c:pt idx="3">
                  <c:v/>
                </c:pt>
              </c:strCache>
            </c:strRef>
          </c:cat>
          <c:val>
            <c:numRef>
              <c:f>Sheet1!$B$2:$B$5</c:f>
              <c:numCache>
                <c:formatCode>General</c:formatCode>
                <c:ptCount val="4"/>
                <c:pt idx="0">
                  <c:v>1379.99</c:v>
                </c:pt>
                <c:pt idx="1">
                  <c:v>1175.47</c:v>
                </c:pt>
                <c:pt idx="2">
                  <c:v>631.64</c:v>
                </c:pt>
                <c:pt idx="3">
                  <c:v>1565.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99</a:t>
                    </a:r>
                  </a:p>
                  <a:p>
                    <a:r>
                      <a:t>3103.4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99</c:v>
                </c:pt>
                <c:pt idx="1">
                  <c:v/>
                </c:pt>
                <c:pt idx="2">
                  <c:v/>
                </c:pt>
                <c:pt idx="3">
                  <c:v/>
                </c:pt>
              </c:strCache>
            </c:strRef>
          </c:cat>
          <c:val>
            <c:numRef>
              <c:f>Sheet1!$C$2:$C$5</c:f>
              <c:numCache>
                <c:formatCode>General</c:formatCode>
                <c:ptCount val="4"/>
                <c:pt idx="0">
                  <c:v>3103.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99</c:v>
                </c:pt>
                <c:pt idx="1">
                  <c:v/>
                </c:pt>
                <c:pt idx="2">
                  <c:v/>
                </c:pt>
                <c:pt idx="3">
                  <c:v/>
                </c:pt>
              </c:strCache>
            </c:strRef>
          </c:cat>
          <c:val>
            <c:numRef>
              <c:f>Sheet1!$D$2:$D$5</c:f>
              <c:numCache>
                <c:formatCode>General</c:formatCode>
                <c:ptCount val="4"/>
                <c:pt idx="0">
                  <c:v>1557.91</c:v>
                </c:pt>
                <c:pt idx="1">
                  <c:v>1215.65</c:v>
                </c:pt>
                <c:pt idx="2">
                  <c:v>586.2</c:v>
                </c:pt>
                <c:pt idx="3">
                  <c:v>240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99</c:v>
                </c:pt>
                <c:pt idx="1">
                  <c:v/>
                </c:pt>
                <c:pt idx="2">
                  <c:v/>
                </c:pt>
                <c:pt idx="3">
                  <c:v/>
                </c:pt>
              </c:strCache>
            </c:strRef>
          </c:cat>
          <c:val>
            <c:numRef>
              <c:f>Sheet1!$E$2:$E$5</c:f>
              <c:numCache>
                <c:formatCode>General</c:formatCode>
                <c:ptCount val="4"/>
                <c:pt idx="0">
                  <c:v>2876.15</c:v>
                </c:pt>
                <c:pt idx="3">
                  <c:v>5419.3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99</c:v>
                </c:pt>
                <c:pt idx="1">
                  <c:v/>
                </c:pt>
                <c:pt idx="2">
                  <c:v/>
                </c:pt>
                <c:pt idx="3">
                  <c:v/>
                </c:pt>
              </c:strCache>
            </c:strRef>
          </c:cat>
          <c:val>
            <c:numRef>
              <c:f>Sheet1!$F$2:$F$5</c:f>
              <c:numCache>
                <c:formatCode>General</c:formatCode>
                <c:ptCount val="4"/>
                <c:pt idx="0">
                  <c:v>1848.2</c:v>
                </c:pt>
                <c:pt idx="1">
                  <c:v>1151.24</c:v>
                </c:pt>
                <c:pt idx="2">
                  <c:v>929.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19.8889"/>
          <c:min val="585.70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B$2:$B$3</c:f>
              <c:numCache>
                <c:formatCode>General</c:formatCode>
                <c:ptCount val="2"/>
                <c:pt idx="0">
                  <c:v>6980.53</c:v>
                </c:pt>
                <c:pt idx="1">
                  <c:v>1632.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564.9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C$2:$C$3</c:f>
              <c:numCache>
                <c:formatCode>General</c:formatCode>
                <c:ptCount val="2"/>
                <c:pt idx="1">
                  <c:v>1564.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D$2:$D$3</c:f>
              <c:numCache>
                <c:formatCode>General</c:formatCode>
                <c:ptCount val="2"/>
                <c:pt idx="0">
                  <c:v>5465.8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E$2:$E$3</c:f>
              <c:numCache>
                <c:formatCode>General</c:formatCode>
                <c:ptCount val="2"/>
                <c:pt idx="0">
                  <c:v>12659.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F$2:$F$3</c:f>
              <c:numCache>
                <c:formatCode>General</c:formatCode>
                <c:ptCount val="2"/>
                <c:pt idx="1">
                  <c:v>4351.7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564.46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B$2:$B$3</c:f>
              <c:numCache>
                <c:formatCode>General</c:formatCode>
                <c:ptCount val="2"/>
                <c:pt idx="0">
                  <c:v>1181.68</c:v>
                </c:pt>
                <c:pt idx="1">
                  <c:v>2960.1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3</a:t>
                    </a:r>
                  </a:p>
                  <a:p>
                    <a:r>
                      <a:t>1341.8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C$2:$C$3</c:f>
              <c:numCache>
                <c:formatCode>General</c:formatCode>
                <c:ptCount val="2"/>
                <c:pt idx="0">
                  <c:v>1341.8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D$2:$D$3</c:f>
              <c:numCache>
                <c:formatCode>General</c:formatCode>
                <c:ptCount val="2"/>
                <c:pt idx="0">
                  <c:v>1613.64</c:v>
                </c:pt>
                <c:pt idx="1">
                  <c:v>3267.0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E$2:$E$3</c:f>
              <c:numCache>
                <c:formatCode>General</c:formatCode>
                <c:ptCount val="2"/>
                <c:pt idx="0">
                  <c:v>605.3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F$2:$F$3</c:f>
              <c:numCache>
                <c:formatCode>General</c:formatCode>
                <c:ptCount val="2"/>
                <c:pt idx="1">
                  <c:v>3346.4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46.9838"/>
          <c:min val="604.85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B$2:$B$4</c:f>
              <c:numCache>
                <c:formatCode>General</c:formatCode>
                <c:ptCount val="3"/>
                <c:pt idx="0">
                  <c:v>1533.8</c:v>
                </c:pt>
                <c:pt idx="1">
                  <c:v>3667.14</c:v>
                </c:pt>
                <c:pt idx="2">
                  <c:v>12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9</a:t>
                    </a:r>
                  </a:p>
                  <a:p>
                    <a:r>
                      <a:t>1420.3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11.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C$2:$C$4</c:f>
              <c:numCache>
                <c:formatCode>General</c:formatCode>
                <c:ptCount val="3"/>
                <c:pt idx="0">
                  <c:v>1420.37</c:v>
                </c:pt>
                <c:pt idx="2">
                  <c:v>1311.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D$2:$D$4</c:f>
              <c:numCache>
                <c:formatCode>General</c:formatCode>
                <c:ptCount val="3"/>
                <c:pt idx="0">
                  <c:v>1788.33</c:v>
                </c:pt>
                <c:pt idx="1">
                  <c:v>9298.7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E$2:$E$4</c:f>
              <c:numCache>
                <c:formatCode>General</c:formatCode>
                <c:ptCount val="3"/>
                <c:pt idx="0">
                  <c:v>6119.95</c:v>
                </c:pt>
                <c:pt idx="1">
                  <c:v>8888.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J&amp;J</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9</c:v>
                </c:pt>
                <c:pt idx="1">
                  <c:v/>
                </c:pt>
                <c:pt idx="2">
                  <c:v>IX 100</c:v>
                </c:pt>
              </c:strCache>
            </c:strRef>
          </c:cat>
          <c:val>
            <c:numRef>
              <c:f>Sheet1!$F$2:$F$4</c:f>
              <c:numCache>
                <c:formatCode>General</c:formatCode>
                <c:ptCount val="3"/>
                <c:pt idx="0">
                  <c:v>8870.36</c:v>
                </c:pt>
                <c:pt idx="1">
                  <c:v>3257.0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99.2254"/>
          <c:min val="1204.96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699.03</c:v>
                </c:pt>
                <c:pt idx="1">
                  <c:v>45712.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758.5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758.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947.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4283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713.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B$2:$B$3</c:f>
              <c:numCache>
                <c:formatCode>General</c:formatCode>
                <c:ptCount val="2"/>
                <c:pt idx="0">
                  <c:v>1194.85</c:v>
                </c:pt>
                <c:pt idx="1">
                  <c:v>1964.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5</a:t>
                    </a:r>
                  </a:p>
                  <a:p>
                    <a:r>
                      <a:t>1324.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C$2:$C$3</c:f>
              <c:numCache>
                <c:formatCode>General</c:formatCode>
                <c:ptCount val="2"/>
                <c:pt idx="0">
                  <c:v>1324.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D$2:$D$3</c:f>
              <c:numCache>
                <c:formatCode>General</c:formatCode>
                <c:ptCount val="2"/>
                <c:pt idx="0">
                  <c:v>1549.69</c:v>
                </c:pt>
                <c:pt idx="1">
                  <c:v>402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E$2:$E$3</c:f>
              <c:numCache>
                <c:formatCode>General</c:formatCode>
                <c:ptCount val="2"/>
                <c:pt idx="0">
                  <c:v>621.4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F$2:$F$3</c:f>
              <c:numCache>
                <c:formatCode>General</c:formatCode>
                <c:ptCount val="2"/>
                <c:pt idx="0">
                  <c:v>618.9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28.8333"/>
          <c:min val="618.45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B$2:$B$4</c:f>
              <c:numCache>
                <c:formatCode>General</c:formatCode>
                <c:ptCount val="3"/>
                <c:pt idx="0">
                  <c:v>1565.25</c:v>
                </c:pt>
                <c:pt idx="1">
                  <c:v>5237.47</c:v>
                </c:pt>
                <c:pt idx="2">
                  <c:v>117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378.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42.0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C$2:$C$4</c:f>
              <c:numCache>
                <c:formatCode>General</c:formatCode>
                <c:ptCount val="3"/>
                <c:pt idx="0">
                  <c:v>1378.14</c:v>
                </c:pt>
                <c:pt idx="2">
                  <c:v>1342.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D$2:$D$4</c:f>
              <c:numCache>
                <c:formatCode>General</c:formatCode>
                <c:ptCount val="3"/>
                <c:pt idx="0">
                  <c:v>1932.72</c:v>
                </c:pt>
                <c:pt idx="1">
                  <c:v>9302.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E$2:$E$4</c:f>
              <c:numCache>
                <c:formatCode>General</c:formatCode>
                <c:ptCount val="3"/>
                <c:pt idx="0">
                  <c:v>9272.55</c:v>
                </c:pt>
                <c:pt idx="1">
                  <c:v>3655.9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
                </c:pt>
                <c:pt idx="2">
                  <c:v>IX 100</c:v>
                </c:pt>
              </c:strCache>
            </c:strRef>
          </c:cat>
          <c:val>
            <c:numRef>
              <c:f>Sheet1!$F$2:$F$4</c:f>
              <c:numCache>
                <c:formatCode>General</c:formatCode>
                <c:ptCount val="3"/>
                <c:pt idx="1">
                  <c:v>6422.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02.7949"/>
          <c:min val="1173.50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913.35</c:v>
                </c:pt>
                <c:pt idx="1">
                  <c:v>12539.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56.4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456.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8248.9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603.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455.96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B$2:$B$3</c:f>
              <c:numCache>
                <c:formatCode>General</c:formatCode>
                <c:ptCount val="2"/>
                <c:pt idx="0">
                  <c:v>1207.36</c:v>
                </c:pt>
                <c:pt idx="1">
                  <c:v>2864.4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2</a:t>
                    </a:r>
                  </a:p>
                  <a:p>
                    <a:r>
                      <a:t>1361.8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C$2:$C$3</c:f>
              <c:numCache>
                <c:formatCode>General</c:formatCode>
                <c:ptCount val="2"/>
                <c:pt idx="0">
                  <c:v>1361.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D$2:$D$3</c:f>
              <c:numCache>
                <c:formatCode>General</c:formatCode>
                <c:ptCount val="2"/>
                <c:pt idx="0">
                  <c:v>1654.6</c:v>
                </c:pt>
                <c:pt idx="1">
                  <c:v>3151.1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E$2:$E$3</c:f>
              <c:numCache>
                <c:formatCode>General</c:formatCode>
                <c:ptCount val="2"/>
                <c:pt idx="0">
                  <c:v>636.1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nds.Lavin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
                </c:pt>
              </c:strCache>
            </c:strRef>
          </c:cat>
          <c:val>
            <c:numRef>
              <c:f>Sheet1!$F$2:$F$3</c:f>
              <c:numCache>
                <c:formatCode>General</c:formatCode>
                <c:ptCount val="2"/>
                <c:pt idx="0">
                  <c:v>622.3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51.6429"/>
          <c:min val="621.85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554.76</c:v>
                </c:pt>
                <c:pt idx="1">
                  <c:v>5339.27</c:v>
                </c:pt>
                <c:pt idx="2">
                  <c:v>1237.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414.8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89.8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414.82</c:v>
                </c:pt>
                <c:pt idx="2">
                  <c:v>1389.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965.83</c:v>
                </c:pt>
                <c:pt idx="1">
                  <c:v>9177.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8666.14</c:v>
                </c:pt>
                <c:pt idx="1">
                  <c:v>3962.32</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1">
                  <c:v>643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77.9381"/>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793.75</c:v>
                </c:pt>
                <c:pt idx="1">
                  <c:v>13434.1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93.1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493.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8051.5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10325.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23583.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83.8333"/>
          <c:min val="1492.605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3</c:v>
                </c:pt>
              </c:strCache>
            </c:strRef>
          </c:cat>
          <c:val>
            <c:numRef>
              <c:f>Sheet1!$B$2:$B$5</c:f>
              <c:numCache>
                <c:formatCode>General</c:formatCode>
                <c:ptCount val="4"/>
                <c:pt idx="0">
                  <c:v>1648.45</c:v>
                </c:pt>
                <c:pt idx="1">
                  <c:v>1077.75</c:v>
                </c:pt>
                <c:pt idx="2">
                  <c:v>545.78</c:v>
                </c:pt>
                <c:pt idx="3">
                  <c:v>3967.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9</a:t>
                    </a:r>
                  </a:p>
                  <a:p>
                    <a:r>
                      <a:t>1230.08</a:t>
                    </a:r>
                  </a:p>
                </c:rich>
              </c:tx>
              <c:dLblPos val="l"/>
              <c:showLegendKey val="0"/>
              <c:showVal val="1"/>
              <c:showCatName val="0"/>
              <c:showSerName val="0"/>
              <c:showPercent val="0"/>
              <c:showBubbleSize val="0"/>
            </c:dLbl>
            <c:dLbl>
              <c:idx val="1"/>
              <c:tx>
                <c:rich>
                  <a:bodyPr/>
                  <a:lstStyle/>
                  <a:p>
                    <a:r>
                      <a:t>IX 100</a:t>
                    </a:r>
                  </a:p>
                  <a:p>
                    <a:r>
                      <a:t>1104.78</a:t>
                    </a:r>
                  </a:p>
                </c:rich>
              </c:tx>
              <c:dLblPos val="l"/>
              <c:showLegendKey val="0"/>
              <c:showVal val="1"/>
              <c:showCatName val="0"/>
              <c:showSerName val="0"/>
              <c:showPercent val="0"/>
              <c:showBubbleSize val="0"/>
            </c:dLbl>
            <c:dLbl>
              <c:idx val="2"/>
              <c:tx>
                <c:rich>
                  <a:bodyPr/>
                  <a:lstStyle/>
                  <a:p>
                    <a:r>
                      <a:t>IX 100</a:t>
                    </a:r>
                  </a:p>
                  <a:p>
                    <a:r>
                      <a:t>540.82</a:t>
                    </a:r>
                  </a:p>
                </c:rich>
              </c:tx>
              <c:dLblPos val="l"/>
              <c:showLegendKey val="0"/>
              <c:showVal val="1"/>
              <c:showCatName val="0"/>
              <c:showSerName val="0"/>
              <c:showPercent val="0"/>
              <c:showBubbleSize val="0"/>
            </c:dLbl>
            <c:dLbl>
              <c:idx val="3"/>
              <c:tx>
                <c:rich>
                  <a:bodyPr/>
                  <a:lstStyle/>
                  <a:p>
                    <a:r>
                      <a:t>IX 3</a:t>
                    </a:r>
                  </a:p>
                  <a:p>
                    <a:r>
                      <a:t>209.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3</c:v>
                </c:pt>
              </c:strCache>
            </c:strRef>
          </c:cat>
          <c:val>
            <c:numRef>
              <c:f>Sheet1!$C$2:$C$5</c:f>
              <c:numCache>
                <c:formatCode>General</c:formatCode>
                <c:ptCount val="4"/>
                <c:pt idx="0">
                  <c:v>1230.08</c:v>
                </c:pt>
                <c:pt idx="1">
                  <c:v>1104.78</c:v>
                </c:pt>
                <c:pt idx="2">
                  <c:v>540.82</c:v>
                </c:pt>
                <c:pt idx="3">
                  <c:v>209.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3</c:v>
                </c:pt>
              </c:strCache>
            </c:strRef>
          </c:cat>
          <c:val>
            <c:numRef>
              <c:f>Sheet1!$D$2:$D$5</c:f>
              <c:numCache>
                <c:formatCode>General</c:formatCode>
                <c:ptCount val="4"/>
                <c:pt idx="0">
                  <c:v>1794.82</c:v>
                </c:pt>
                <c:pt idx="1">
                  <c:v>1233.61</c:v>
                </c:pt>
                <c:pt idx="2">
                  <c:v>588.77</c:v>
                </c:pt>
                <c:pt idx="3">
                  <c:v>2897.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3</c:v>
                </c:pt>
              </c:strCache>
            </c:strRef>
          </c:cat>
          <c:val>
            <c:numRef>
              <c:f>Sheet1!$E$2:$E$5</c:f>
              <c:numCache>
                <c:formatCode>General</c:formatCode>
                <c:ptCount val="4"/>
                <c:pt idx="0">
                  <c:v>3258.51</c:v>
                </c:pt>
                <c:pt idx="3">
                  <c:v>4873.5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3</c:v>
                </c:pt>
              </c:strCache>
            </c:strRef>
          </c:cat>
          <c:val>
            <c:numRef>
              <c:f>Sheet1!$F$2:$F$5</c:f>
              <c:numCache>
                <c:formatCode>General</c:formatCode>
                <c:ptCount val="4"/>
                <c:pt idx="0">
                  <c:v>6391.39</c:v>
                </c:pt>
                <c:pt idx="2">
                  <c:v>8699.5</c:v>
                </c:pt>
                <c:pt idx="3">
                  <c:v>6615.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00.0"/>
          <c:min val="20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B$2:$B$5</c:f>
              <c:numCache>
                <c:formatCode>General</c:formatCode>
                <c:ptCount val="4"/>
                <c:pt idx="0">
                  <c:v>1580.56</c:v>
                </c:pt>
                <c:pt idx="1">
                  <c:v>1114.83</c:v>
                </c:pt>
                <c:pt idx="2">
                  <c:v>562.08</c:v>
                </c:pt>
                <c:pt idx="3">
                  <c:v>5891.6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196.07</a:t>
                    </a:r>
                  </a:p>
                </c:rich>
              </c:tx>
              <c:dLblPos val="l"/>
              <c:showLegendKey val="0"/>
              <c:showVal val="1"/>
              <c:showCatName val="0"/>
              <c:showSerName val="0"/>
              <c:showPercent val="0"/>
              <c:showBubbleSize val="0"/>
            </c:dLbl>
            <c:dLbl>
              <c:idx val="1"/>
              <c:tx>
                <c:rich>
                  <a:bodyPr/>
                  <a:lstStyle/>
                  <a:p>
                    <a:r>
                      <a:t>IX 100</a:t>
                    </a:r>
                  </a:p>
                  <a:p>
                    <a:r>
                      <a:t>1110.6</a:t>
                    </a:r>
                  </a:p>
                </c:rich>
              </c:tx>
              <c:dLblPos val="l"/>
              <c:showLegendKey val="0"/>
              <c:showVal val="1"/>
              <c:showCatName val="0"/>
              <c:showSerName val="0"/>
              <c:showPercent val="0"/>
              <c:showBubbleSize val="0"/>
            </c:dLbl>
            <c:dLbl>
              <c:idx val="2"/>
              <c:tx>
                <c:rich>
                  <a:bodyPr/>
                  <a:lstStyle/>
                  <a:p>
                    <a:r>
                      <a:t>IX 100</a:t>
                    </a:r>
                  </a:p>
                  <a:p>
                    <a:r>
                      <a:t>706.3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C$2:$C$5</c:f>
              <c:numCache>
                <c:formatCode>General</c:formatCode>
                <c:ptCount val="4"/>
                <c:pt idx="0">
                  <c:v>1196.07</c:v>
                </c:pt>
                <c:pt idx="1">
                  <c:v>1110.6</c:v>
                </c:pt>
                <c:pt idx="2">
                  <c:v>706.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D$2:$D$5</c:f>
              <c:numCache>
                <c:formatCode>General</c:formatCode>
                <c:ptCount val="4"/>
                <c:pt idx="0">
                  <c:v>1647.39</c:v>
                </c:pt>
                <c:pt idx="1">
                  <c:v>1226.55</c:v>
                </c:pt>
                <c:pt idx="2">
                  <c:v>573.98</c:v>
                </c:pt>
                <c:pt idx="3">
                  <c:v>178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E$2:$E$5</c:f>
              <c:numCache>
                <c:formatCode>General</c:formatCode>
                <c:ptCount val="4"/>
                <c:pt idx="0">
                  <c:v>10624.43</c:v>
                </c:pt>
                <c:pt idx="3">
                  <c:v>17335.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F$2:$F$5</c:f>
              <c:numCache>
                <c:formatCode>General</c:formatCode>
                <c:ptCount val="4"/>
                <c:pt idx="0">
                  <c:v>6928.32</c:v>
                </c:pt>
                <c:pt idx="3">
                  <c:v>14921.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36.357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B$2:$B$3</c:f>
              <c:numCache>
                <c:formatCode>General</c:formatCode>
                <c:ptCount val="2"/>
                <c:pt idx="0">
                  <c:v>1204.3</c:v>
                </c:pt>
                <c:pt idx="1">
                  <c:v>2732.8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5</a:t>
                    </a:r>
                  </a:p>
                  <a:p>
                    <a:r>
                      <a:t>1424.4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C$2:$C$3</c:f>
              <c:numCache>
                <c:formatCode>General</c:formatCode>
                <c:ptCount val="2"/>
                <c:pt idx="0">
                  <c:v>1424.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D$2:$D$3</c:f>
              <c:numCache>
                <c:formatCode>General</c:formatCode>
                <c:ptCount val="2"/>
                <c:pt idx="0">
                  <c:v>1676.25</c:v>
                </c:pt>
                <c:pt idx="1">
                  <c:v>2994.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E$2:$E$3</c:f>
              <c:numCache>
                <c:formatCode>General</c:formatCode>
                <c:ptCount val="2"/>
                <c:pt idx="0">
                  <c:v>616.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F$2:$F$3</c:f>
              <c:numCache>
                <c:formatCode>General</c:formatCode>
                <c:ptCount val="2"/>
                <c:pt idx="1">
                  <c:v>4107.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108.4865"/>
          <c:min val="615.771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656.39</c:v>
                </c:pt>
                <c:pt idx="1">
                  <c:v>4624.22</c:v>
                </c:pt>
                <c:pt idx="2">
                  <c:v>1321.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438.9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434.5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438.91</c:v>
                </c:pt>
                <c:pt idx="2">
                  <c:v>1434.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985.41</c:v>
                </c:pt>
                <c:pt idx="1">
                  <c:v>9873.2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5516.19</c:v>
                </c:pt>
                <c:pt idx="1">
                  <c:v>8962.3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J&amp;J</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0">
                  <c:v>8251.58</c:v>
                </c:pt>
                <c:pt idx="1">
                  <c:v>3836.9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73.7838"/>
          <c:min val="1321.33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813.65</c:v>
                </c:pt>
                <c:pt idx="1">
                  <c:v>11506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746.7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746.7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bs. Expanscienc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19846.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077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5064.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B$2:$B$3</c:f>
              <c:numCache>
                <c:formatCode>General</c:formatCode>
                <c:ptCount val="2"/>
                <c:pt idx="0">
                  <c:v>1332.2</c:v>
                </c:pt>
                <c:pt idx="1">
                  <c:v>1878.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7</a:t>
                    </a:r>
                  </a:p>
                  <a:p>
                    <a:r>
                      <a:t>1453.0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C$2:$C$3</c:f>
              <c:numCache>
                <c:formatCode>General</c:formatCode>
                <c:ptCount val="2"/>
                <c:pt idx="0">
                  <c:v>1453.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D$2:$D$3</c:f>
              <c:numCache>
                <c:formatCode>General</c:formatCode>
                <c:ptCount val="2"/>
                <c:pt idx="0">
                  <c:v>1678.63</c:v>
                </c:pt>
                <c:pt idx="1">
                  <c:v>4437.5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tal Care De Mexic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E$2:$E$3</c:f>
              <c:numCache>
                <c:formatCode>General</c:formatCode>
                <c:ptCount val="2"/>
                <c:pt idx="0">
                  <c:v>608.5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F$2:$F$3</c:f>
              <c:numCache>
                <c:formatCode>General</c:formatCode>
                <c:ptCount val="2"/>
                <c:pt idx="1">
                  <c:v>8778.4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78.9667"/>
          <c:min val="608.07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B$2:$B$4</c:f>
              <c:numCache>
                <c:formatCode>General</c:formatCode>
                <c:ptCount val="3"/>
                <c:pt idx="0">
                  <c:v>1594.16</c:v>
                </c:pt>
                <c:pt idx="1">
                  <c:v>5296.23</c:v>
                </c:pt>
                <c:pt idx="2">
                  <c:v>121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57.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92.2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C$2:$C$4</c:f>
              <c:numCache>
                <c:formatCode>General</c:formatCode>
                <c:ptCount val="3"/>
                <c:pt idx="0">
                  <c:v>1357.06</c:v>
                </c:pt>
                <c:pt idx="2">
                  <c:v>1292.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D$2:$D$4</c:f>
              <c:numCache>
                <c:formatCode>General</c:formatCode>
                <c:ptCount val="3"/>
                <c:pt idx="0">
                  <c:v>1947.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E$2:$E$4</c:f>
              <c:numCache>
                <c:formatCode>General</c:formatCode>
                <c:ptCount val="3"/>
                <c:pt idx="0">
                  <c:v>9101.64</c:v>
                </c:pt>
                <c:pt idx="1">
                  <c:v>3714.3</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F$2:$F$4</c:f>
              <c:numCache>
                <c:formatCode>General</c:formatCode>
                <c:ptCount val="3"/>
                <c:pt idx="1">
                  <c:v>6979.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02.1367"/>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B$2:$B$4</c:f>
              <c:numCache>
                <c:formatCode>General</c:formatCode>
                <c:ptCount val="3"/>
                <c:pt idx="0">
                  <c:v>1594.16</c:v>
                </c:pt>
                <c:pt idx="1">
                  <c:v>5296.23</c:v>
                </c:pt>
                <c:pt idx="2">
                  <c:v>121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49.8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400.4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C$2:$C$4</c:f>
              <c:numCache>
                <c:formatCode>General</c:formatCode>
                <c:ptCount val="3"/>
                <c:pt idx="0">
                  <c:v>1349.86</c:v>
                </c:pt>
                <c:pt idx="2">
                  <c:v>1400.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D$2:$D$4</c:f>
              <c:numCache>
                <c:formatCode>General</c:formatCode>
                <c:ptCount val="3"/>
                <c:pt idx="0">
                  <c:v>1947.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E$2:$E$4</c:f>
              <c:numCache>
                <c:formatCode>General</c:formatCode>
                <c:ptCount val="3"/>
                <c:pt idx="0">
                  <c:v>9101.64</c:v>
                </c:pt>
                <c:pt idx="1">
                  <c:v>3714.3</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F$2:$F$4</c:f>
              <c:numCache>
                <c:formatCode>General</c:formatCode>
                <c:ptCount val="3"/>
                <c:pt idx="1">
                  <c:v>6979.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02.1367"/>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594.16</c:v>
                </c:pt>
                <c:pt idx="1">
                  <c:v>5296.23</c:v>
                </c:pt>
                <c:pt idx="2">
                  <c:v>121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2</a:t>
                    </a:r>
                  </a:p>
                  <a:p>
                    <a:r>
                      <a:t>4900.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90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947.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9101.64</c:v>
                </c:pt>
                <c:pt idx="1">
                  <c:v>3714.3</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1">
                  <c:v>6979.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02.1367"/>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B$2:$B$3</c:f>
              <c:numCache>
                <c:formatCode>General</c:formatCode>
                <c:ptCount val="2"/>
                <c:pt idx="0">
                  <c:v>1805.85</c:v>
                </c:pt>
                <c:pt idx="1">
                  <c:v>9857.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0</a:t>
                    </a:r>
                  </a:p>
                  <a:p>
                    <a:r>
                      <a:t>118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C$2:$C$3</c:f>
              <c:numCache>
                <c:formatCode>General</c:formatCode>
                <c:ptCount val="2"/>
                <c:pt idx="0">
                  <c:v>118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D$2:$D$3</c:f>
              <c:numCache>
                <c:formatCode>General</c:formatCode>
                <c:ptCount val="2"/>
                <c:pt idx="0">
                  <c:v>6021.3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E$2:$E$3</c:f>
              <c:numCache>
                <c:formatCode>General</c:formatCode>
                <c:ptCount val="2"/>
                <c:pt idx="1">
                  <c:v>7963.0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F$2:$F$3</c:f>
              <c:numCache>
                <c:formatCode>General</c:formatCode>
                <c:ptCount val="2"/>
                <c:pt idx="1">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1182.00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805.85</c:v>
                </c:pt>
                <c:pt idx="1">
                  <c:v>9857.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723.6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723.6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021.3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7963.0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1723.1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B$2:$B$3</c:f>
              <c:numCache>
                <c:formatCode>General</c:formatCode>
                <c:ptCount val="2"/>
                <c:pt idx="0">
                  <c:v>1213.34</c:v>
                </c:pt>
                <c:pt idx="1">
                  <c:v>2625.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0</a:t>
                    </a:r>
                  </a:p>
                  <a:p>
                    <a:r>
                      <a:t>813.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C$2:$C$3</c:f>
              <c:numCache>
                <c:formatCode>General</c:formatCode>
                <c:ptCount val="2"/>
                <c:pt idx="0">
                  <c:v>813.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D$2:$D$3</c:f>
              <c:numCache>
                <c:formatCode>General</c:formatCode>
                <c:ptCount val="2"/>
                <c:pt idx="0">
                  <c:v>1634.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E$2:$E$3</c:f>
              <c:numCache>
                <c:formatCode>General</c:formatCode>
                <c:ptCount val="2"/>
                <c:pt idx="0">
                  <c:v>615.7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F$2:$F$3</c:f>
              <c:numCache>
                <c:formatCode>General</c:formatCode>
                <c:ptCount val="2"/>
                <c:pt idx="0">
                  <c:v>633.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26.4231"/>
          <c:min val="615.27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7</c:v>
                </c:pt>
                <c:pt idx="2">
                  <c:v>IX 100</c:v>
                </c:pt>
                <c:pt idx="3">
                  <c:v>IX 0</c:v>
                </c:pt>
              </c:strCache>
            </c:strRef>
          </c:cat>
          <c:val>
            <c:numRef>
              <c:f>Sheet1!$B$2:$B$5</c:f>
              <c:numCache>
                <c:formatCode>General</c:formatCode>
                <c:ptCount val="4"/>
                <c:pt idx="0">
                  <c:v>1580.56</c:v>
                </c:pt>
                <c:pt idx="1">
                  <c:v>1114.83</c:v>
                </c:pt>
                <c:pt idx="2">
                  <c:v>562.08</c:v>
                </c:pt>
                <c:pt idx="3">
                  <c:v>5891.6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181.68</a:t>
                    </a:r>
                  </a:p>
                </c:rich>
              </c:tx>
              <c:dLblPos val="l"/>
              <c:showLegendKey val="0"/>
              <c:showVal val="1"/>
              <c:showCatName val="0"/>
              <c:showSerName val="0"/>
              <c:showPercent val="0"/>
              <c:showBubbleSize val="0"/>
            </c:dLbl>
            <c:dLbl>
              <c:idx val="1"/>
              <c:tx>
                <c:rich>
                  <a:bodyPr/>
                  <a:lstStyle/>
                  <a:p>
                    <a:r>
                      <a:t>IX 77</a:t>
                    </a:r>
                  </a:p>
                  <a:p>
                    <a:r>
                      <a:t>949.65</a:t>
                    </a:r>
                  </a:p>
                </c:rich>
              </c:tx>
              <c:dLblPos val="l"/>
              <c:showLegendKey val="0"/>
              <c:showVal val="1"/>
              <c:showCatName val="0"/>
              <c:showSerName val="0"/>
              <c:showPercent val="0"/>
              <c:showBubbleSize val="0"/>
            </c:dLbl>
            <c:dLbl>
              <c:idx val="2"/>
              <c:tx>
                <c:rich>
                  <a:bodyPr/>
                  <a:lstStyle/>
                  <a:p>
                    <a:r>
                      <a:t>IX 100</a:t>
                    </a:r>
                  </a:p>
                  <a:p>
                    <a:r>
                      <a:t>433.25</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7</c:v>
                </c:pt>
                <c:pt idx="2">
                  <c:v>IX 100</c:v>
                </c:pt>
                <c:pt idx="3">
                  <c:v>IX 0</c:v>
                </c:pt>
              </c:strCache>
            </c:strRef>
          </c:cat>
          <c:val>
            <c:numRef>
              <c:f>Sheet1!$C$2:$C$5</c:f>
              <c:numCache>
                <c:formatCode>General</c:formatCode>
                <c:ptCount val="4"/>
                <c:pt idx="0">
                  <c:v>1181.68</c:v>
                </c:pt>
                <c:pt idx="1">
                  <c:v>949.65</c:v>
                </c:pt>
                <c:pt idx="2">
                  <c:v>433.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7</c:v>
                </c:pt>
                <c:pt idx="2">
                  <c:v>IX 100</c:v>
                </c:pt>
                <c:pt idx="3">
                  <c:v>IX 0</c:v>
                </c:pt>
              </c:strCache>
            </c:strRef>
          </c:cat>
          <c:val>
            <c:numRef>
              <c:f>Sheet1!$D$2:$D$5</c:f>
              <c:numCache>
                <c:formatCode>General</c:formatCode>
                <c:ptCount val="4"/>
                <c:pt idx="0">
                  <c:v>1647.39</c:v>
                </c:pt>
                <c:pt idx="1">
                  <c:v>1226.55</c:v>
                </c:pt>
                <c:pt idx="2">
                  <c:v>573.98</c:v>
                </c:pt>
                <c:pt idx="3">
                  <c:v>178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7</c:v>
                </c:pt>
                <c:pt idx="2">
                  <c:v>IX 100</c:v>
                </c:pt>
                <c:pt idx="3">
                  <c:v>IX 0</c:v>
                </c:pt>
              </c:strCache>
            </c:strRef>
          </c:cat>
          <c:val>
            <c:numRef>
              <c:f>Sheet1!$E$2:$E$5</c:f>
              <c:numCache>
                <c:formatCode>General</c:formatCode>
                <c:ptCount val="4"/>
                <c:pt idx="0">
                  <c:v>10624.43</c:v>
                </c:pt>
                <c:pt idx="3">
                  <c:v>17335.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7</c:v>
                </c:pt>
                <c:pt idx="2">
                  <c:v>IX 100</c:v>
                </c:pt>
                <c:pt idx="3">
                  <c:v>IX 0</c:v>
                </c:pt>
              </c:strCache>
            </c:strRef>
          </c:cat>
          <c:val>
            <c:numRef>
              <c:f>Sheet1!$F$2:$F$5</c:f>
              <c:numCache>
                <c:formatCode>General</c:formatCode>
                <c:ptCount val="4"/>
                <c:pt idx="0">
                  <c:v>6928.32</c:v>
                </c:pt>
                <c:pt idx="3">
                  <c:v>14921.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36.357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B$2:$B$3</c:f>
              <c:numCache>
                <c:formatCode>General</c:formatCode>
                <c:ptCount val="2"/>
                <c:pt idx="0">
                  <c:v>1213.34</c:v>
                </c:pt>
                <c:pt idx="1">
                  <c:v>2625.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5</a:t>
                    </a:r>
                  </a:p>
                  <a:p>
                    <a:r>
                      <a:t>1391.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C$2:$C$3</c:f>
              <c:numCache>
                <c:formatCode>General</c:formatCode>
                <c:ptCount val="2"/>
                <c:pt idx="0">
                  <c:v>1391.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D$2:$D$3</c:f>
              <c:numCache>
                <c:formatCode>General</c:formatCode>
                <c:ptCount val="2"/>
                <c:pt idx="0">
                  <c:v>1634.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E$2:$E$3</c:f>
              <c:numCache>
                <c:formatCode>General</c:formatCode>
                <c:ptCount val="2"/>
                <c:pt idx="0">
                  <c:v>615.7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F$2:$F$3</c:f>
              <c:numCache>
                <c:formatCode>General</c:formatCode>
                <c:ptCount val="2"/>
                <c:pt idx="0">
                  <c:v>633.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26.4231"/>
          <c:min val="615.27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B$2:$B$4</c:f>
              <c:numCache>
                <c:formatCode>General</c:formatCode>
                <c:ptCount val="3"/>
                <c:pt idx="0">
                  <c:v>1652.52</c:v>
                </c:pt>
                <c:pt idx="1">
                  <c:v>5143.72</c:v>
                </c:pt>
                <c:pt idx="2">
                  <c:v>1191.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387.9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52.5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C$2:$C$4</c:f>
              <c:numCache>
                <c:formatCode>General</c:formatCode>
                <c:ptCount val="3"/>
                <c:pt idx="0">
                  <c:v>1387.92</c:v>
                </c:pt>
                <c:pt idx="2">
                  <c:v>1352.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D$2:$D$4</c:f>
              <c:numCache>
                <c:formatCode>General</c:formatCode>
                <c:ptCount val="3"/>
                <c:pt idx="0">
                  <c:v>2037.7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E$2:$E$4</c:f>
              <c:numCache>
                <c:formatCode>General</c:formatCode>
                <c:ptCount val="3"/>
                <c:pt idx="0">
                  <c:v>9778.68</c:v>
                </c:pt>
                <c:pt idx="1">
                  <c:v>382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
                </c:pt>
                <c:pt idx="2">
                  <c:v>IX 100</c:v>
                </c:pt>
              </c:strCache>
            </c:strRef>
          </c:cat>
          <c:val>
            <c:numRef>
              <c:f>Sheet1!$F$2:$F$4</c:f>
              <c:numCache>
                <c:formatCode>General</c:formatCode>
                <c:ptCount val="3"/>
                <c:pt idx="1">
                  <c:v>7018.3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79.179"/>
          <c:min val="1191.4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B$2:$B$4</c:f>
              <c:numCache>
                <c:formatCode>General</c:formatCode>
                <c:ptCount val="3"/>
                <c:pt idx="0">
                  <c:v>1652.52</c:v>
                </c:pt>
                <c:pt idx="1">
                  <c:v>5143.72</c:v>
                </c:pt>
                <c:pt idx="2">
                  <c:v>1191.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1300.7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402.3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C$2:$C$4</c:f>
              <c:numCache>
                <c:formatCode>General</c:formatCode>
                <c:ptCount val="3"/>
                <c:pt idx="0">
                  <c:v>1300.79</c:v>
                </c:pt>
                <c:pt idx="2">
                  <c:v>1402.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D$2:$D$4</c:f>
              <c:numCache>
                <c:formatCode>General</c:formatCode>
                <c:ptCount val="3"/>
                <c:pt idx="0">
                  <c:v>2037.7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E$2:$E$4</c:f>
              <c:numCache>
                <c:formatCode>General</c:formatCode>
                <c:ptCount val="3"/>
                <c:pt idx="0">
                  <c:v>9778.68</c:v>
                </c:pt>
                <c:pt idx="1">
                  <c:v>382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F$2:$F$4</c:f>
              <c:numCache>
                <c:formatCode>General</c:formatCode>
                <c:ptCount val="3"/>
                <c:pt idx="1">
                  <c:v>7018.3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79.179"/>
          <c:min val="1191.4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B$2:$B$4</c:f>
              <c:numCache>
                <c:formatCode>General</c:formatCode>
                <c:ptCount val="3"/>
                <c:pt idx="0">
                  <c:v>1652.52</c:v>
                </c:pt>
                <c:pt idx="1">
                  <c:v>5143.72</c:v>
                </c:pt>
                <c:pt idx="2">
                  <c:v>1191.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8</a:t>
                    </a:r>
                  </a:p>
                  <a:p>
                    <a:r>
                      <a:t>5051.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C$2:$C$4</c:f>
              <c:numCache>
                <c:formatCode>General</c:formatCode>
                <c:ptCount val="3"/>
                <c:pt idx="0">
                  <c:v>5051.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D$2:$D$4</c:f>
              <c:numCache>
                <c:formatCode>General</c:formatCode>
                <c:ptCount val="3"/>
                <c:pt idx="0">
                  <c:v>2037.7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E$2:$E$4</c:f>
              <c:numCache>
                <c:formatCode>General</c:formatCode>
                <c:ptCount val="3"/>
                <c:pt idx="0">
                  <c:v>9778.68</c:v>
                </c:pt>
                <c:pt idx="1">
                  <c:v>382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F$2:$F$4</c:f>
              <c:numCache>
                <c:formatCode>General</c:formatCode>
                <c:ptCount val="3"/>
                <c:pt idx="1">
                  <c:v>7018.3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79.179"/>
          <c:min val="1191.4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
                </c:pt>
              </c:strCache>
            </c:strRef>
          </c:cat>
          <c:val>
            <c:numRef>
              <c:f>Sheet1!$B$2:$B$3</c:f>
              <c:numCache>
                <c:formatCode>General</c:formatCode>
                <c:ptCount val="2"/>
                <c:pt idx="0">
                  <c:v>1989.78</c:v>
                </c:pt>
                <c:pt idx="1">
                  <c:v>11967.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a:t>
                    </a:r>
                  </a:p>
                  <a:p>
                    <a:r>
                      <a:t>1397.3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
                </c:pt>
              </c:strCache>
            </c:strRef>
          </c:cat>
          <c:val>
            <c:numRef>
              <c:f>Sheet1!$C$2:$C$3</c:f>
              <c:numCache>
                <c:formatCode>General</c:formatCode>
                <c:ptCount val="2"/>
                <c:pt idx="0">
                  <c:v>1397.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
                </c:pt>
              </c:strCache>
            </c:strRef>
          </c:cat>
          <c:val>
            <c:numRef>
              <c:f>Sheet1!$D$2:$D$3</c:f>
              <c:numCache>
                <c:formatCode>General</c:formatCode>
                <c:ptCount val="2"/>
                <c:pt idx="0">
                  <c:v>5825.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
                </c:pt>
              </c:strCache>
            </c:strRef>
          </c:cat>
          <c:val>
            <c:numRef>
              <c:f>Sheet1!$E$2:$E$3</c:f>
              <c:numCache>
                <c:formatCode>General</c:formatCode>
                <c:ptCount val="2"/>
                <c:pt idx="1">
                  <c:v>10250.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
                </c:pt>
              </c:strCache>
            </c:strRef>
          </c:cat>
          <c:val>
            <c:numRef>
              <c:f>Sheet1!$F$2:$F$3</c:f>
              <c:numCache>
                <c:formatCode>General</c:formatCode>
                <c:ptCount val="2"/>
                <c:pt idx="1">
                  <c:v>18163.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396.8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989.78</c:v>
                </c:pt>
                <c:pt idx="1">
                  <c:v>11967.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647.7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647.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5825.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10250.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8163.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647.246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B$2:$B$3</c:f>
              <c:numCache>
                <c:formatCode>General</c:formatCode>
                <c:ptCount val="2"/>
                <c:pt idx="0">
                  <c:v>1202.38</c:v>
                </c:pt>
                <c:pt idx="1">
                  <c:v>2540.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79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C$2:$C$3</c:f>
              <c:numCache>
                <c:formatCode>General</c:formatCode>
                <c:ptCount val="2"/>
                <c:pt idx="0">
                  <c:v>79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D$2:$D$3</c:f>
              <c:numCache>
                <c:formatCode>General</c:formatCode>
                <c:ptCount val="2"/>
                <c:pt idx="0">
                  <c:v>1662.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E$2:$E$3</c:f>
              <c:numCache>
                <c:formatCode>General</c:formatCode>
                <c:ptCount val="2"/>
                <c:pt idx="0">
                  <c:v>602.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F$2:$F$3</c:f>
              <c:numCache>
                <c:formatCode>General</c:formatCode>
                <c:ptCount val="2"/>
                <c:pt idx="0">
                  <c:v>633.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41.23"/>
          <c:min val="602.21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B$2:$B$3</c:f>
              <c:numCache>
                <c:formatCode>General</c:formatCode>
                <c:ptCount val="2"/>
                <c:pt idx="0">
                  <c:v>1202.38</c:v>
                </c:pt>
                <c:pt idx="1">
                  <c:v>2540.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1399.0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C$2:$C$3</c:f>
              <c:numCache>
                <c:formatCode>General</c:formatCode>
                <c:ptCount val="2"/>
                <c:pt idx="0">
                  <c:v>1399.0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D$2:$D$3</c:f>
              <c:numCache>
                <c:formatCode>General</c:formatCode>
                <c:ptCount val="2"/>
                <c:pt idx="0">
                  <c:v>1662.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E$2:$E$3</c:f>
              <c:numCache>
                <c:formatCode>General</c:formatCode>
                <c:ptCount val="2"/>
                <c:pt idx="0">
                  <c:v>602.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F$2:$F$3</c:f>
              <c:numCache>
                <c:formatCode>General</c:formatCode>
                <c:ptCount val="2"/>
                <c:pt idx="0">
                  <c:v>633.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41.23"/>
          <c:min val="602.21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B$2:$B$4</c:f>
              <c:numCache>
                <c:formatCode>General</c:formatCode>
                <c:ptCount val="3"/>
                <c:pt idx="0">
                  <c:v>1620.35</c:v>
                </c:pt>
                <c:pt idx="1">
                  <c:v>6414.36</c:v>
                </c:pt>
                <c:pt idx="2">
                  <c:v>1149.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1306.9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33.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C$2:$C$4</c:f>
              <c:numCache>
                <c:formatCode>General</c:formatCode>
                <c:ptCount val="3"/>
                <c:pt idx="0">
                  <c:v>1306.91</c:v>
                </c:pt>
                <c:pt idx="2">
                  <c:v>1233.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D$2:$D$4</c:f>
              <c:numCache>
                <c:formatCode>General</c:formatCode>
                <c:ptCount val="3"/>
                <c:pt idx="0">
                  <c:v>2038.0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E$2:$E$4</c:f>
              <c:numCache>
                <c:formatCode>General</c:formatCode>
                <c:ptCount val="3"/>
                <c:pt idx="1">
                  <c:v>7520.0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100</c:v>
                </c:pt>
              </c:strCache>
            </c:strRef>
          </c:cat>
          <c:val>
            <c:numRef>
              <c:f>Sheet1!$F$2:$F$4</c:f>
              <c:numCache>
                <c:formatCode>General</c:formatCode>
                <c:ptCount val="3"/>
                <c:pt idx="1">
                  <c:v>10465.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65.9571"/>
          <c:min val="1148.5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B$2:$B$4</c:f>
              <c:numCache>
                <c:formatCode>General</c:formatCode>
                <c:ptCount val="3"/>
                <c:pt idx="0">
                  <c:v>1620.35</c:v>
                </c:pt>
                <c:pt idx="1">
                  <c:v>6414.36</c:v>
                </c:pt>
                <c:pt idx="2">
                  <c:v>1149.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1327.5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19.6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C$2:$C$4</c:f>
              <c:numCache>
                <c:formatCode>General</c:formatCode>
                <c:ptCount val="3"/>
                <c:pt idx="0">
                  <c:v>1327.56</c:v>
                </c:pt>
                <c:pt idx="2">
                  <c:v>1319.6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D$2:$D$4</c:f>
              <c:numCache>
                <c:formatCode>General</c:formatCode>
                <c:ptCount val="3"/>
                <c:pt idx="0">
                  <c:v>2038.0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E$2:$E$4</c:f>
              <c:numCache>
                <c:formatCode>General</c:formatCode>
                <c:ptCount val="3"/>
                <c:pt idx="1">
                  <c:v>7520.0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100</c:v>
                </c:pt>
              </c:strCache>
            </c:strRef>
          </c:cat>
          <c:val>
            <c:numRef>
              <c:f>Sheet1!$F$2:$F$4</c:f>
              <c:numCache>
                <c:formatCode>General</c:formatCode>
                <c:ptCount val="3"/>
                <c:pt idx="1">
                  <c:v>10465.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65.9571"/>
          <c:min val="1148.5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B$2:$B$5</c:f>
              <c:numCache>
                <c:formatCode>General</c:formatCode>
                <c:ptCount val="4"/>
                <c:pt idx="0">
                  <c:v>1580.56</c:v>
                </c:pt>
                <c:pt idx="1">
                  <c:v>1114.83</c:v>
                </c:pt>
                <c:pt idx="2">
                  <c:v>562.08</c:v>
                </c:pt>
                <c:pt idx="3">
                  <c:v>5891.6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7</a:t>
                    </a:r>
                  </a:p>
                  <a:p>
                    <a:r>
                      <a:t>4233.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C$2:$C$5</c:f>
              <c:numCache>
                <c:formatCode>General</c:formatCode>
                <c:ptCount val="4"/>
                <c:pt idx="0">
                  <c:v>4233.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D$2:$D$5</c:f>
              <c:numCache>
                <c:formatCode>General</c:formatCode>
                <c:ptCount val="4"/>
                <c:pt idx="0">
                  <c:v>1647.39</c:v>
                </c:pt>
                <c:pt idx="1">
                  <c:v>1226.55</c:v>
                </c:pt>
                <c:pt idx="2">
                  <c:v>573.98</c:v>
                </c:pt>
                <c:pt idx="3">
                  <c:v>178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E$2:$E$5</c:f>
              <c:numCache>
                <c:formatCode>General</c:formatCode>
                <c:ptCount val="4"/>
                <c:pt idx="0">
                  <c:v>10624.43</c:v>
                </c:pt>
                <c:pt idx="3">
                  <c:v>17335.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F$2:$F$5</c:f>
              <c:numCache>
                <c:formatCode>General</c:formatCode>
                <c:ptCount val="4"/>
                <c:pt idx="0">
                  <c:v>6928.32</c:v>
                </c:pt>
                <c:pt idx="3">
                  <c:v>14921.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36.357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B$2:$B$4</c:f>
              <c:numCache>
                <c:formatCode>General</c:formatCode>
                <c:ptCount val="3"/>
                <c:pt idx="0">
                  <c:v>1620.35</c:v>
                </c:pt>
                <c:pt idx="1">
                  <c:v>6414.36</c:v>
                </c:pt>
                <c:pt idx="2">
                  <c:v>1149.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39</a:t>
                    </a:r>
                  </a:p>
                  <a:p>
                    <a:r>
                      <a:t>4864.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C$2:$C$4</c:f>
              <c:numCache>
                <c:formatCode>General</c:formatCode>
                <c:ptCount val="3"/>
                <c:pt idx="0">
                  <c:v>4864.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D$2:$D$4</c:f>
              <c:numCache>
                <c:formatCode>General</c:formatCode>
                <c:ptCount val="3"/>
                <c:pt idx="0">
                  <c:v>2038.0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E$2:$E$4</c:f>
              <c:numCache>
                <c:formatCode>General</c:formatCode>
                <c:ptCount val="3"/>
                <c:pt idx="1">
                  <c:v>7520.0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9</c:v>
                </c:pt>
                <c:pt idx="1">
                  <c:v/>
                </c:pt>
                <c:pt idx="2">
                  <c:v/>
                </c:pt>
              </c:strCache>
            </c:strRef>
          </c:cat>
          <c:val>
            <c:numRef>
              <c:f>Sheet1!$F$2:$F$4</c:f>
              <c:numCache>
                <c:formatCode>General</c:formatCode>
                <c:ptCount val="3"/>
                <c:pt idx="1">
                  <c:v>10465.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65.9571"/>
          <c:min val="1148.5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9</c:v>
                </c:pt>
              </c:strCache>
            </c:strRef>
          </c:cat>
          <c:val>
            <c:numRef>
              <c:f>Sheet1!$B$2:$B$3</c:f>
              <c:numCache>
                <c:formatCode>General</c:formatCode>
                <c:ptCount val="2"/>
                <c:pt idx="0">
                  <c:v>6980.53</c:v>
                </c:pt>
                <c:pt idx="1">
                  <c:v>1632.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9</a:t>
                    </a:r>
                  </a:p>
                  <a:p>
                    <a:r>
                      <a:t>1263.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9</c:v>
                </c:pt>
              </c:strCache>
            </c:strRef>
          </c:cat>
          <c:val>
            <c:numRef>
              <c:f>Sheet1!$C$2:$C$3</c:f>
              <c:numCache>
                <c:formatCode>General</c:formatCode>
                <c:ptCount val="2"/>
                <c:pt idx="1">
                  <c:v>1263.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9</c:v>
                </c:pt>
              </c:strCache>
            </c:strRef>
          </c:cat>
          <c:val>
            <c:numRef>
              <c:f>Sheet1!$D$2:$D$3</c:f>
              <c:numCache>
                <c:formatCode>General</c:formatCode>
                <c:ptCount val="2"/>
                <c:pt idx="0">
                  <c:v>5465.8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9</c:v>
                </c:pt>
              </c:strCache>
            </c:strRef>
          </c:cat>
          <c:val>
            <c:numRef>
              <c:f>Sheet1!$E$2:$E$3</c:f>
              <c:numCache>
                <c:formatCode>General</c:formatCode>
                <c:ptCount val="2"/>
                <c:pt idx="0">
                  <c:v>12659.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9</c:v>
                </c:pt>
              </c:strCache>
            </c:strRef>
          </c:cat>
          <c:val>
            <c:numRef>
              <c:f>Sheet1!$F$2:$F$3</c:f>
              <c:numCache>
                <c:formatCode>General</c:formatCode>
                <c:ptCount val="2"/>
                <c:pt idx="1">
                  <c:v>4351.7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262.88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B$2:$B$3</c:f>
              <c:numCache>
                <c:formatCode>General</c:formatCode>
                <c:ptCount val="2"/>
                <c:pt idx="0">
                  <c:v>6980.53</c:v>
                </c:pt>
                <c:pt idx="1">
                  <c:v>1632.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626.9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C$2:$C$3</c:f>
              <c:numCache>
                <c:formatCode>General</c:formatCode>
                <c:ptCount val="2"/>
                <c:pt idx="1">
                  <c:v>1626.9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D$2:$D$3</c:f>
              <c:numCache>
                <c:formatCode>General</c:formatCode>
                <c:ptCount val="2"/>
                <c:pt idx="0">
                  <c:v>5465.8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E$2:$E$3</c:f>
              <c:numCache>
                <c:formatCode>General</c:formatCode>
                <c:ptCount val="2"/>
                <c:pt idx="0">
                  <c:v>12659.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0</c:v>
                </c:pt>
              </c:strCache>
            </c:strRef>
          </c:cat>
          <c:val>
            <c:numRef>
              <c:f>Sheet1!$F$2:$F$3</c:f>
              <c:numCache>
                <c:formatCode>General</c:formatCode>
                <c:ptCount val="2"/>
                <c:pt idx="1">
                  <c:v>4351.7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626.44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B$2:$B$3</c:f>
              <c:numCache>
                <c:formatCode>General</c:formatCode>
                <c:ptCount val="2"/>
                <c:pt idx="0">
                  <c:v>1181.68</c:v>
                </c:pt>
                <c:pt idx="1">
                  <c:v>2960.1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090.0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C$2:$C$3</c:f>
              <c:numCache>
                <c:formatCode>General</c:formatCode>
                <c:ptCount val="2"/>
                <c:pt idx="0">
                  <c:v>1090.0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D$2:$D$3</c:f>
              <c:numCache>
                <c:formatCode>General</c:formatCode>
                <c:ptCount val="2"/>
                <c:pt idx="0">
                  <c:v>1613.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E$2:$E$3</c:f>
              <c:numCache>
                <c:formatCode>General</c:formatCode>
                <c:ptCount val="2"/>
                <c:pt idx="0">
                  <c:v>605.2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F$2:$F$3</c:f>
              <c:numCache>
                <c:formatCode>General</c:formatCode>
                <c:ptCount val="2"/>
                <c:pt idx="1">
                  <c:v>4674.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74.8537"/>
          <c:min val="604.761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B$2:$B$3</c:f>
              <c:numCache>
                <c:formatCode>General</c:formatCode>
                <c:ptCount val="2"/>
                <c:pt idx="0">
                  <c:v>1181.68</c:v>
                </c:pt>
                <c:pt idx="1">
                  <c:v>2960.1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3</a:t>
                    </a:r>
                  </a:p>
                  <a:p>
                    <a:r>
                      <a:t>1343.7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C$2:$C$3</c:f>
              <c:numCache>
                <c:formatCode>General</c:formatCode>
                <c:ptCount val="2"/>
                <c:pt idx="0">
                  <c:v>1343.7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D$2:$D$3</c:f>
              <c:numCache>
                <c:formatCode>General</c:formatCode>
                <c:ptCount val="2"/>
                <c:pt idx="0">
                  <c:v>1613.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E$2:$E$3</c:f>
              <c:numCache>
                <c:formatCode>General</c:formatCode>
                <c:ptCount val="2"/>
                <c:pt idx="0">
                  <c:v>605.2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
                </c:pt>
              </c:strCache>
            </c:strRef>
          </c:cat>
          <c:val>
            <c:numRef>
              <c:f>Sheet1!$F$2:$F$3</c:f>
              <c:numCache>
                <c:formatCode>General</c:formatCode>
                <c:ptCount val="2"/>
                <c:pt idx="1">
                  <c:v>4674.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74.8537"/>
          <c:min val="604.761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B$2:$B$4</c:f>
              <c:numCache>
                <c:formatCode>General</c:formatCode>
                <c:ptCount val="3"/>
                <c:pt idx="0">
                  <c:v>1533.8</c:v>
                </c:pt>
                <c:pt idx="1">
                  <c:v>3667.14</c:v>
                </c:pt>
                <c:pt idx="2">
                  <c:v>12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4</a:t>
                    </a:r>
                  </a:p>
                  <a:p>
                    <a:r>
                      <a:t>1332.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228.0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C$2:$C$4</c:f>
              <c:numCache>
                <c:formatCode>General</c:formatCode>
                <c:ptCount val="3"/>
                <c:pt idx="0">
                  <c:v>1332.2</c:v>
                </c:pt>
                <c:pt idx="2">
                  <c:v>1228.0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D$2:$D$4</c:f>
              <c:numCache>
                <c:formatCode>General</c:formatCode>
                <c:ptCount val="3"/>
                <c:pt idx="0">
                  <c:v>178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E$2:$E$4</c:f>
              <c:numCache>
                <c:formatCode>General</c:formatCode>
                <c:ptCount val="3"/>
                <c:pt idx="0">
                  <c:v>741.39</c:v>
                </c:pt>
                <c:pt idx="2">
                  <c:v>690.3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eutrogen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
                </c:pt>
                <c:pt idx="2">
                  <c:v>IX 100</c:v>
                </c:pt>
              </c:strCache>
            </c:strRef>
          </c:cat>
          <c:val>
            <c:numRef>
              <c:f>Sheet1!$F$2:$F$4</c:f>
              <c:numCache>
                <c:formatCode>General</c:formatCode>
                <c:ptCount val="3"/>
                <c:pt idx="0">
                  <c:v>8870.36</c:v>
                </c:pt>
                <c:pt idx="1">
                  <c:v>3257.0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70.8636"/>
          <c:min val="689.86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B$2:$B$4</c:f>
              <c:numCache>
                <c:formatCode>General</c:formatCode>
                <c:ptCount val="3"/>
                <c:pt idx="0">
                  <c:v>1533.8</c:v>
                </c:pt>
                <c:pt idx="1">
                  <c:v>3667.14</c:v>
                </c:pt>
                <c:pt idx="2">
                  <c:v>12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0</a:t>
                    </a:r>
                  </a:p>
                  <a:p>
                    <a:r>
                      <a:t>1434.9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73.7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C$2:$C$4</c:f>
              <c:numCache>
                <c:formatCode>General</c:formatCode>
                <c:ptCount val="3"/>
                <c:pt idx="0">
                  <c:v>1434.97</c:v>
                </c:pt>
                <c:pt idx="2">
                  <c:v>1373.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D$2:$D$4</c:f>
              <c:numCache>
                <c:formatCode>General</c:formatCode>
                <c:ptCount val="3"/>
                <c:pt idx="0">
                  <c:v>178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E$2:$E$4</c:f>
              <c:numCache>
                <c:formatCode>General</c:formatCode>
                <c:ptCount val="3"/>
                <c:pt idx="0">
                  <c:v>741.39</c:v>
                </c:pt>
                <c:pt idx="2">
                  <c:v>690.3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eutrogen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80</c:v>
                </c:pt>
                <c:pt idx="1">
                  <c:v/>
                </c:pt>
                <c:pt idx="2">
                  <c:v>IX 100</c:v>
                </c:pt>
              </c:strCache>
            </c:strRef>
          </c:cat>
          <c:val>
            <c:numRef>
              <c:f>Sheet1!$F$2:$F$4</c:f>
              <c:numCache>
                <c:formatCode>General</c:formatCode>
                <c:ptCount val="3"/>
                <c:pt idx="0">
                  <c:v>8870.36</c:v>
                </c:pt>
                <c:pt idx="1">
                  <c:v>3257.0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70.8636"/>
          <c:min val="689.86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B$2:$B$4</c:f>
              <c:numCache>
                <c:formatCode>General</c:formatCode>
                <c:ptCount val="3"/>
                <c:pt idx="0">
                  <c:v>1533.8</c:v>
                </c:pt>
                <c:pt idx="1">
                  <c:v>3667.14</c:v>
                </c:pt>
                <c:pt idx="2">
                  <c:v>12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3</a:t>
                    </a:r>
                  </a:p>
                  <a:p>
                    <a:r>
                      <a:t>4707.8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C$2:$C$4</c:f>
              <c:numCache>
                <c:formatCode>General</c:formatCode>
                <c:ptCount val="3"/>
                <c:pt idx="0">
                  <c:v>4707.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D$2:$D$4</c:f>
              <c:numCache>
                <c:formatCode>General</c:formatCode>
                <c:ptCount val="3"/>
                <c:pt idx="0">
                  <c:v>178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E$2:$E$4</c:f>
              <c:numCache>
                <c:formatCode>General</c:formatCode>
                <c:ptCount val="3"/>
                <c:pt idx="0">
                  <c:v>741.39</c:v>
                </c:pt>
                <c:pt idx="2">
                  <c:v>690.3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eutrogen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63</c:v>
                </c:pt>
                <c:pt idx="1">
                  <c:v/>
                </c:pt>
                <c:pt idx="2">
                  <c:v/>
                </c:pt>
              </c:strCache>
            </c:strRef>
          </c:cat>
          <c:val>
            <c:numRef>
              <c:f>Sheet1!$F$2:$F$4</c:f>
              <c:numCache>
                <c:formatCode>General</c:formatCode>
                <c:ptCount val="3"/>
                <c:pt idx="0">
                  <c:v>8870.36</c:v>
                </c:pt>
                <c:pt idx="1">
                  <c:v>3257.0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70.8636"/>
          <c:min val="689.86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B$2:$B$3</c:f>
              <c:numCache>
                <c:formatCode>General</c:formatCode>
                <c:ptCount val="2"/>
                <c:pt idx="0">
                  <c:v>1699.03</c:v>
                </c:pt>
                <c:pt idx="1">
                  <c:v>45712.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a:t>
                    </a:r>
                  </a:p>
                  <a:p>
                    <a:r>
                      <a:t>1229.1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C$2:$C$3</c:f>
              <c:numCache>
                <c:formatCode>General</c:formatCode>
                <c:ptCount val="2"/>
                <c:pt idx="0">
                  <c:v>1229.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D$2:$D$3</c:f>
              <c:numCache>
                <c:formatCode>General</c:formatCode>
                <c:ptCount val="2"/>
                <c:pt idx="0">
                  <c:v>6947.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E$2:$E$3</c:f>
              <c:numCache>
                <c:formatCode>General</c:formatCode>
                <c:ptCount val="2"/>
                <c:pt idx="1">
                  <c:v>4283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713.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699.03</c:v>
                </c:pt>
                <c:pt idx="1">
                  <c:v>45712.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2035.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2035.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6947.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4283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713.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B$2:$B$5</c:f>
              <c:numCache>
                <c:formatCode>General</c:formatCode>
                <c:ptCount val="4"/>
                <c:pt idx="0">
                  <c:v>1598.77</c:v>
                </c:pt>
                <c:pt idx="1">
                  <c:v>1094.98</c:v>
                </c:pt>
                <c:pt idx="2">
                  <c:v>558.19</c:v>
                </c:pt>
                <c:pt idx="3">
                  <c:v>6026.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247.48</a:t>
                    </a:r>
                  </a:p>
                </c:rich>
              </c:tx>
              <c:dLblPos val="l"/>
              <c:showLegendKey val="0"/>
              <c:showVal val="1"/>
              <c:showCatName val="0"/>
              <c:showSerName val="0"/>
              <c:showPercent val="0"/>
              <c:showBubbleSize val="0"/>
            </c:dLbl>
            <c:dLbl>
              <c:idx val="1"/>
              <c:tx>
                <c:rich>
                  <a:bodyPr/>
                  <a:lstStyle/>
                  <a:p>
                    <a:r>
                      <a:t>IX 100</a:t>
                    </a:r>
                  </a:p>
                  <a:p>
                    <a:r>
                      <a:t>1141.92</a:t>
                    </a:r>
                  </a:p>
                </c:rich>
              </c:tx>
              <c:dLblPos val="l"/>
              <c:showLegendKey val="0"/>
              <c:showVal val="1"/>
              <c:showCatName val="0"/>
              <c:showSerName val="0"/>
              <c:showPercent val="0"/>
              <c:showBubbleSize val="0"/>
            </c:dLbl>
            <c:dLbl>
              <c:idx val="2"/>
              <c:tx>
                <c:rich>
                  <a:bodyPr/>
                  <a:lstStyle/>
                  <a:p>
                    <a:r>
                      <a:t>IX 100</a:t>
                    </a:r>
                  </a:p>
                  <a:p>
                    <a:r>
                      <a:t>705.3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C$2:$C$5</c:f>
              <c:numCache>
                <c:formatCode>General</c:formatCode>
                <c:ptCount val="4"/>
                <c:pt idx="0">
                  <c:v>1247.48</c:v>
                </c:pt>
                <c:pt idx="1">
                  <c:v>1141.92</c:v>
                </c:pt>
                <c:pt idx="2">
                  <c:v>705.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D$2:$D$5</c:f>
              <c:numCache>
                <c:formatCode>General</c:formatCode>
                <c:ptCount val="4"/>
                <c:pt idx="0">
                  <c:v>1694.46</c:v>
                </c:pt>
                <c:pt idx="1">
                  <c:v>1259.12</c:v>
                </c:pt>
                <c:pt idx="2">
                  <c:v>581.4</c:v>
                </c:pt>
                <c:pt idx="3">
                  <c:v>1452.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E$2:$E$5</c:f>
              <c:numCache>
                <c:formatCode>General</c:formatCode>
                <c:ptCount val="4"/>
                <c:pt idx="0">
                  <c:v>10020.58</c:v>
                </c:pt>
                <c:pt idx="2">
                  <c:v>5380.0</c:v>
                </c:pt>
                <c:pt idx="3">
                  <c:v>12611.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F$2:$F$5</c:f>
              <c:numCache>
                <c:formatCode>General</c:formatCode>
                <c:ptCount val="4"/>
                <c:pt idx="0">
                  <c:v>7066.39</c:v>
                </c:pt>
                <c:pt idx="3">
                  <c:v>10575.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12.1034"/>
          <c:min val="557.68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B$2:$B$3</c:f>
              <c:numCache>
                <c:formatCode>General</c:formatCode>
                <c:ptCount val="2"/>
                <c:pt idx="0">
                  <c:v>1194.85</c:v>
                </c:pt>
                <c:pt idx="1">
                  <c:v>1964.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9</a:t>
                    </a:r>
                  </a:p>
                  <a:p>
                    <a:r>
                      <a:t>756.2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C$2:$C$3</c:f>
              <c:numCache>
                <c:formatCode>General</c:formatCode>
                <c:ptCount val="2"/>
                <c:pt idx="0">
                  <c:v>756.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D$2:$D$3</c:f>
              <c:numCache>
                <c:formatCode>General</c:formatCode>
                <c:ptCount val="2"/>
                <c:pt idx="0">
                  <c:v>1549.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E$2:$E$3</c:f>
              <c:numCache>
                <c:formatCode>General</c:formatCode>
                <c:ptCount val="2"/>
                <c:pt idx="0">
                  <c:v>621.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F$2:$F$3</c:f>
              <c:numCache>
                <c:formatCode>General</c:formatCode>
                <c:ptCount val="2"/>
                <c:pt idx="1">
                  <c:v>3023.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23.8833"/>
          <c:min val="621.240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B$2:$B$3</c:f>
              <c:numCache>
                <c:formatCode>General</c:formatCode>
                <c:ptCount val="2"/>
                <c:pt idx="0">
                  <c:v>1194.85</c:v>
                </c:pt>
                <c:pt idx="1">
                  <c:v>1964.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6</a:t>
                    </a:r>
                  </a:p>
                  <a:p>
                    <a:r>
                      <a:t>1337.3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C$2:$C$3</c:f>
              <c:numCache>
                <c:formatCode>General</c:formatCode>
                <c:ptCount val="2"/>
                <c:pt idx="0">
                  <c:v>1337.3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D$2:$D$3</c:f>
              <c:numCache>
                <c:formatCode>General</c:formatCode>
                <c:ptCount val="2"/>
                <c:pt idx="0">
                  <c:v>1549.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E$2:$E$3</c:f>
              <c:numCache>
                <c:formatCode>General</c:formatCode>
                <c:ptCount val="2"/>
                <c:pt idx="0">
                  <c:v>621.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
                </c:pt>
              </c:strCache>
            </c:strRef>
          </c:cat>
          <c:val>
            <c:numRef>
              <c:f>Sheet1!$F$2:$F$3</c:f>
              <c:numCache>
                <c:formatCode>General</c:formatCode>
                <c:ptCount val="2"/>
                <c:pt idx="1">
                  <c:v>3023.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23.8833"/>
          <c:min val="621.240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B$2:$B$4</c:f>
              <c:numCache>
                <c:formatCode>General</c:formatCode>
                <c:ptCount val="3"/>
                <c:pt idx="0">
                  <c:v>1565.25</c:v>
                </c:pt>
                <c:pt idx="1">
                  <c:v>5237.47</c:v>
                </c:pt>
                <c:pt idx="2">
                  <c:v>117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49.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00.4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C$2:$C$4</c:f>
              <c:numCache>
                <c:formatCode>General</c:formatCode>
                <c:ptCount val="3"/>
                <c:pt idx="0">
                  <c:v>1349.23</c:v>
                </c:pt>
                <c:pt idx="2">
                  <c:v>1300.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D$2:$D$4</c:f>
              <c:numCache>
                <c:formatCode>General</c:formatCode>
                <c:ptCount val="3"/>
                <c:pt idx="0">
                  <c:v>1932.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E$2:$E$4</c:f>
              <c:numCache>
                <c:formatCode>General</c:formatCode>
                <c:ptCount val="3"/>
                <c:pt idx="0">
                  <c:v>9272.55</c:v>
                </c:pt>
                <c:pt idx="1">
                  <c:v>3655.9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F$2:$F$4</c:f>
              <c:numCache>
                <c:formatCode>General</c:formatCode>
                <c:ptCount val="3"/>
                <c:pt idx="1">
                  <c:v>6422.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73.0526"/>
          <c:min val="1173.50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B$2:$B$4</c:f>
              <c:numCache>
                <c:formatCode>General</c:formatCode>
                <c:ptCount val="3"/>
                <c:pt idx="0">
                  <c:v>1565.25</c:v>
                </c:pt>
                <c:pt idx="1">
                  <c:v>5237.47</c:v>
                </c:pt>
                <c:pt idx="2">
                  <c:v>117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1294.0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70.7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C$2:$C$4</c:f>
              <c:numCache>
                <c:formatCode>General</c:formatCode>
                <c:ptCount val="3"/>
                <c:pt idx="0">
                  <c:v>1294.05</c:v>
                </c:pt>
                <c:pt idx="2">
                  <c:v>1370.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D$2:$D$4</c:f>
              <c:numCache>
                <c:formatCode>General</c:formatCode>
                <c:ptCount val="3"/>
                <c:pt idx="0">
                  <c:v>1932.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E$2:$E$4</c:f>
              <c:numCache>
                <c:formatCode>General</c:formatCode>
                <c:ptCount val="3"/>
                <c:pt idx="0">
                  <c:v>9272.55</c:v>
                </c:pt>
                <c:pt idx="1">
                  <c:v>3655.9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100</c:v>
                </c:pt>
              </c:strCache>
            </c:strRef>
          </c:cat>
          <c:val>
            <c:numRef>
              <c:f>Sheet1!$F$2:$F$4</c:f>
              <c:numCache>
                <c:formatCode>General</c:formatCode>
                <c:ptCount val="3"/>
                <c:pt idx="1">
                  <c:v>6422.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73.0526"/>
          <c:min val="1173.50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565.25</c:v>
                </c:pt>
                <c:pt idx="1">
                  <c:v>5237.47</c:v>
                </c:pt>
                <c:pt idx="2">
                  <c:v>117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2</a:t>
                    </a:r>
                  </a:p>
                  <a:p>
                    <a:r>
                      <a:t>4873.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873.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932.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9272.55</c:v>
                </c:pt>
                <c:pt idx="1">
                  <c:v>3655.9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1">
                  <c:v>6422.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73.0526"/>
          <c:min val="1173.50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B$2:$B$3</c:f>
              <c:numCache>
                <c:formatCode>General</c:formatCode>
                <c:ptCount val="2"/>
                <c:pt idx="0">
                  <c:v>1913.35</c:v>
                </c:pt>
                <c:pt idx="1">
                  <c:v>12539.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a:t>
                    </a:r>
                  </a:p>
                  <a:p>
                    <a:r>
                      <a:t>104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C$2:$C$3</c:f>
              <c:numCache>
                <c:formatCode>General</c:formatCode>
                <c:ptCount val="2"/>
                <c:pt idx="0">
                  <c:v>104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D$2:$D$3</c:f>
              <c:numCache>
                <c:formatCode>General</c:formatCode>
                <c:ptCount val="2"/>
                <c:pt idx="0">
                  <c:v>8248.9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E$2:$E$3</c:f>
              <c:numCache>
                <c:formatCode>General</c:formatCode>
                <c:ptCount val="2"/>
                <c:pt idx="1">
                  <c:v>9603.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F$2:$F$3</c:f>
              <c:numCache>
                <c:formatCode>General</c:formatCode>
                <c:ptCount val="2"/>
                <c:pt idx="1">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04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913.35</c:v>
                </c:pt>
                <c:pt idx="1">
                  <c:v>12539.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789.4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789.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8248.9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603.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788.951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B$2:$B$3</c:f>
              <c:numCache>
                <c:formatCode>General</c:formatCode>
                <c:ptCount val="2"/>
                <c:pt idx="0">
                  <c:v>1207.36</c:v>
                </c:pt>
                <c:pt idx="1">
                  <c:v>2864.4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9</a:t>
                    </a:r>
                  </a:p>
                  <a:p>
                    <a:r>
                      <a:t>803.4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C$2:$C$3</c:f>
              <c:numCache>
                <c:formatCode>General</c:formatCode>
                <c:ptCount val="2"/>
                <c:pt idx="0">
                  <c:v>803.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D$2:$D$3</c:f>
              <c:numCache>
                <c:formatCode>General</c:formatCode>
                <c:ptCount val="2"/>
                <c:pt idx="0">
                  <c:v>1654.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E$2:$E$3</c:f>
              <c:numCache>
                <c:formatCode>General</c:formatCode>
                <c:ptCount val="2"/>
                <c:pt idx="0">
                  <c:v>635.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9</c:v>
                </c:pt>
                <c:pt idx="1">
                  <c:v/>
                </c:pt>
              </c:strCache>
            </c:strRef>
          </c:cat>
          <c:val>
            <c:numRef>
              <c:f>Sheet1!$F$2:$F$3</c:f>
              <c:numCache>
                <c:formatCode>General</c:formatCode>
                <c:ptCount val="2"/>
                <c:pt idx="0">
                  <c:v>631.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64.94"/>
          <c:min val="631.4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B$2:$B$3</c:f>
              <c:numCache>
                <c:formatCode>General</c:formatCode>
                <c:ptCount val="2"/>
                <c:pt idx="0">
                  <c:v>1207.36</c:v>
                </c:pt>
                <c:pt idx="1">
                  <c:v>2864.4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1384.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C$2:$C$3</c:f>
              <c:numCache>
                <c:formatCode>General</c:formatCode>
                <c:ptCount val="2"/>
                <c:pt idx="0">
                  <c:v>1384.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D$2:$D$3</c:f>
              <c:numCache>
                <c:formatCode>General</c:formatCode>
                <c:ptCount val="2"/>
                <c:pt idx="0">
                  <c:v>1654.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E$2:$E$3</c:f>
              <c:numCache>
                <c:formatCode>General</c:formatCode>
                <c:ptCount val="2"/>
                <c:pt idx="0">
                  <c:v>635.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u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
                </c:pt>
              </c:strCache>
            </c:strRef>
          </c:cat>
          <c:val>
            <c:numRef>
              <c:f>Sheet1!$F$2:$F$3</c:f>
              <c:numCache>
                <c:formatCode>General</c:formatCode>
                <c:ptCount val="2"/>
                <c:pt idx="0">
                  <c:v>631.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64.94"/>
          <c:min val="631.4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B$2:$B$4</c:f>
              <c:numCache>
                <c:formatCode>General</c:formatCode>
                <c:ptCount val="3"/>
                <c:pt idx="0">
                  <c:v>1554.76</c:v>
                </c:pt>
                <c:pt idx="1">
                  <c:v>5339.27</c:v>
                </c:pt>
                <c:pt idx="2">
                  <c:v>1237.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77.5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15.9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C$2:$C$4</c:f>
              <c:numCache>
                <c:formatCode>General</c:formatCode>
                <c:ptCount val="3"/>
                <c:pt idx="0">
                  <c:v>1377.59</c:v>
                </c:pt>
                <c:pt idx="2">
                  <c:v>1315.9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D$2:$D$4</c:f>
              <c:numCache>
                <c:formatCode>General</c:formatCode>
                <c:ptCount val="3"/>
                <c:pt idx="0">
                  <c:v>1965.8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E$2:$E$4</c:f>
              <c:numCache>
                <c:formatCode>General</c:formatCode>
                <c:ptCount val="3"/>
                <c:pt idx="0">
                  <c:v>8666.14</c:v>
                </c:pt>
                <c:pt idx="1">
                  <c:v>3962.32</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F$2:$F$4</c:f>
              <c:numCache>
                <c:formatCode>General</c:formatCode>
                <c:ptCount val="3"/>
                <c:pt idx="1">
                  <c:v>643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66.6389"/>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6</c:v>
                </c:pt>
                <c:pt idx="2">
                  <c:v>IX 100</c:v>
                </c:pt>
                <c:pt idx="3">
                  <c:v>IX 0</c:v>
                </c:pt>
              </c:strCache>
            </c:strRef>
          </c:cat>
          <c:val>
            <c:numRef>
              <c:f>Sheet1!$B$2:$B$5</c:f>
              <c:numCache>
                <c:formatCode>General</c:formatCode>
                <c:ptCount val="4"/>
                <c:pt idx="0">
                  <c:v>1598.77</c:v>
                </c:pt>
                <c:pt idx="1">
                  <c:v>1094.98</c:v>
                </c:pt>
                <c:pt idx="2">
                  <c:v>558.19</c:v>
                </c:pt>
                <c:pt idx="3">
                  <c:v>6026.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5</a:t>
                    </a:r>
                  </a:p>
                  <a:p>
                    <a:r>
                      <a:t>1264.47</a:t>
                    </a:r>
                  </a:p>
                </c:rich>
              </c:tx>
              <c:dLblPos val="l"/>
              <c:showLegendKey val="0"/>
              <c:showVal val="1"/>
              <c:showCatName val="0"/>
              <c:showSerName val="0"/>
              <c:showPercent val="0"/>
              <c:showBubbleSize val="0"/>
            </c:dLbl>
            <c:dLbl>
              <c:idx val="1"/>
              <c:tx>
                <c:rich>
                  <a:bodyPr/>
                  <a:lstStyle/>
                  <a:p>
                    <a:r>
                      <a:t>IX 76</a:t>
                    </a:r>
                  </a:p>
                  <a:p>
                    <a:r>
                      <a:t>951.14</a:t>
                    </a:r>
                  </a:p>
                </c:rich>
              </c:tx>
              <c:dLblPos val="l"/>
              <c:showLegendKey val="0"/>
              <c:showVal val="1"/>
              <c:showCatName val="0"/>
              <c:showSerName val="0"/>
              <c:showPercent val="0"/>
              <c:showBubbleSize val="0"/>
            </c:dLbl>
            <c:dLbl>
              <c:idx val="2"/>
              <c:tx>
                <c:rich>
                  <a:bodyPr/>
                  <a:lstStyle/>
                  <a:p>
                    <a:r>
                      <a:t>IX 100</a:t>
                    </a:r>
                  </a:p>
                  <a:p>
                    <a:r>
                      <a:t>448.95</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6</c:v>
                </c:pt>
                <c:pt idx="2">
                  <c:v>IX 100</c:v>
                </c:pt>
                <c:pt idx="3">
                  <c:v>IX 0</c:v>
                </c:pt>
              </c:strCache>
            </c:strRef>
          </c:cat>
          <c:val>
            <c:numRef>
              <c:f>Sheet1!$C$2:$C$5</c:f>
              <c:numCache>
                <c:formatCode>General</c:formatCode>
                <c:ptCount val="4"/>
                <c:pt idx="0">
                  <c:v>1264.47</c:v>
                </c:pt>
                <c:pt idx="1">
                  <c:v>951.14</c:v>
                </c:pt>
                <c:pt idx="2">
                  <c:v>448.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6</c:v>
                </c:pt>
                <c:pt idx="2">
                  <c:v>IX 100</c:v>
                </c:pt>
                <c:pt idx="3">
                  <c:v>IX 0</c:v>
                </c:pt>
              </c:strCache>
            </c:strRef>
          </c:cat>
          <c:val>
            <c:numRef>
              <c:f>Sheet1!$D$2:$D$5</c:f>
              <c:numCache>
                <c:formatCode>General</c:formatCode>
                <c:ptCount val="4"/>
                <c:pt idx="0">
                  <c:v>1694.46</c:v>
                </c:pt>
                <c:pt idx="1">
                  <c:v>1259.12</c:v>
                </c:pt>
                <c:pt idx="2">
                  <c:v>581.4</c:v>
                </c:pt>
                <c:pt idx="3">
                  <c:v>1452.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6</c:v>
                </c:pt>
                <c:pt idx="2">
                  <c:v>IX 100</c:v>
                </c:pt>
                <c:pt idx="3">
                  <c:v>IX 0</c:v>
                </c:pt>
              </c:strCache>
            </c:strRef>
          </c:cat>
          <c:val>
            <c:numRef>
              <c:f>Sheet1!$E$2:$E$5</c:f>
              <c:numCache>
                <c:formatCode>General</c:formatCode>
                <c:ptCount val="4"/>
                <c:pt idx="0">
                  <c:v>10020.58</c:v>
                </c:pt>
                <c:pt idx="2">
                  <c:v>5380.0</c:v>
                </c:pt>
                <c:pt idx="3">
                  <c:v>12611.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6</c:v>
                </c:pt>
                <c:pt idx="2">
                  <c:v>IX 100</c:v>
                </c:pt>
                <c:pt idx="3">
                  <c:v>IX 0</c:v>
                </c:pt>
              </c:strCache>
            </c:strRef>
          </c:cat>
          <c:val>
            <c:numRef>
              <c:f>Sheet1!$F$2:$F$5</c:f>
              <c:numCache>
                <c:formatCode>General</c:formatCode>
                <c:ptCount val="4"/>
                <c:pt idx="0">
                  <c:v>7066.39</c:v>
                </c:pt>
                <c:pt idx="3">
                  <c:v>10575.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12.103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B$2:$B$4</c:f>
              <c:numCache>
                <c:formatCode>General</c:formatCode>
                <c:ptCount val="3"/>
                <c:pt idx="0">
                  <c:v>1554.76</c:v>
                </c:pt>
                <c:pt idx="1">
                  <c:v>5339.27</c:v>
                </c:pt>
                <c:pt idx="2">
                  <c:v>1237.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6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435.6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C$2:$C$4</c:f>
              <c:numCache>
                <c:formatCode>General</c:formatCode>
                <c:ptCount val="3"/>
                <c:pt idx="0">
                  <c:v>1362.3</c:v>
                </c:pt>
                <c:pt idx="2">
                  <c:v>1435.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D$2:$D$4</c:f>
              <c:numCache>
                <c:formatCode>General</c:formatCode>
                <c:ptCount val="3"/>
                <c:pt idx="0">
                  <c:v>1965.8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E$2:$E$4</c:f>
              <c:numCache>
                <c:formatCode>General</c:formatCode>
                <c:ptCount val="3"/>
                <c:pt idx="0">
                  <c:v>8666.14</c:v>
                </c:pt>
                <c:pt idx="1">
                  <c:v>3962.32</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
                </c:pt>
                <c:pt idx="2">
                  <c:v>IX 100</c:v>
                </c:pt>
              </c:strCache>
            </c:strRef>
          </c:cat>
          <c:val>
            <c:numRef>
              <c:f>Sheet1!$F$2:$F$4</c:f>
              <c:numCache>
                <c:formatCode>General</c:formatCode>
                <c:ptCount val="3"/>
                <c:pt idx="1">
                  <c:v>643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66.6389"/>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B$2:$B$4</c:f>
              <c:numCache>
                <c:formatCode>General</c:formatCode>
                <c:ptCount val="3"/>
                <c:pt idx="0">
                  <c:v>1554.76</c:v>
                </c:pt>
                <c:pt idx="1">
                  <c:v>5339.27</c:v>
                </c:pt>
                <c:pt idx="2">
                  <c:v>1237.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3</a:t>
                    </a:r>
                  </a:p>
                  <a:p>
                    <a:r>
                      <a:t>4967.2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C$2:$C$4</c:f>
              <c:numCache>
                <c:formatCode>General</c:formatCode>
                <c:ptCount val="3"/>
                <c:pt idx="0">
                  <c:v>4967.2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D$2:$D$4</c:f>
              <c:numCache>
                <c:formatCode>General</c:formatCode>
                <c:ptCount val="3"/>
                <c:pt idx="0">
                  <c:v>1965.8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E$2:$E$4</c:f>
              <c:numCache>
                <c:formatCode>General</c:formatCode>
                <c:ptCount val="3"/>
                <c:pt idx="0">
                  <c:v>8666.14</c:v>
                </c:pt>
                <c:pt idx="1">
                  <c:v>3962.32</c:v>
                </c:pt>
                <c:pt idx="2">
                  <c:v>25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3</c:v>
                </c:pt>
                <c:pt idx="1">
                  <c:v/>
                </c:pt>
                <c:pt idx="2">
                  <c:v/>
                </c:pt>
              </c:strCache>
            </c:strRef>
          </c:cat>
          <c:val>
            <c:numRef>
              <c:f>Sheet1!$F$2:$F$4</c:f>
              <c:numCache>
                <c:formatCode>General</c:formatCode>
                <c:ptCount val="3"/>
                <c:pt idx="1">
                  <c:v>643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666.6389"/>
          <c:min val="254.3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c:v>
                </c:pt>
                <c:pt idx="1">
                  <c:v/>
                </c:pt>
              </c:strCache>
            </c:strRef>
          </c:cat>
          <c:val>
            <c:numRef>
              <c:f>Sheet1!$B$2:$B$3</c:f>
              <c:numCache>
                <c:formatCode>General</c:formatCode>
                <c:ptCount val="2"/>
                <c:pt idx="0">
                  <c:v>1793.75</c:v>
                </c:pt>
                <c:pt idx="1">
                  <c:v>13434.1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a:t>
                    </a:r>
                  </a:p>
                  <a:p>
                    <a:r>
                      <a:t>1110.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c:v>
                </c:pt>
                <c:pt idx="1">
                  <c:v/>
                </c:pt>
              </c:strCache>
            </c:strRef>
          </c:cat>
          <c:val>
            <c:numRef>
              <c:f>Sheet1!$C$2:$C$3</c:f>
              <c:numCache>
                <c:formatCode>General</c:formatCode>
                <c:ptCount val="2"/>
                <c:pt idx="0">
                  <c:v>111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c:v>
                </c:pt>
                <c:pt idx="1">
                  <c:v/>
                </c:pt>
              </c:strCache>
            </c:strRef>
          </c:cat>
          <c:val>
            <c:numRef>
              <c:f>Sheet1!$D$2:$D$3</c:f>
              <c:numCache>
                <c:formatCode>General</c:formatCode>
                <c:ptCount val="2"/>
                <c:pt idx="0">
                  <c:v>8051.5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c:v>
                </c:pt>
                <c:pt idx="1">
                  <c:v/>
                </c:pt>
              </c:strCache>
            </c:strRef>
          </c:cat>
          <c:val>
            <c:numRef>
              <c:f>Sheet1!$E$2:$E$3</c:f>
              <c:numCache>
                <c:formatCode>General</c:formatCode>
                <c:ptCount val="2"/>
                <c:pt idx="1">
                  <c:v>10325.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c:v>
                </c:pt>
                <c:pt idx="1">
                  <c:v/>
                </c:pt>
              </c:strCache>
            </c:strRef>
          </c:cat>
          <c:val>
            <c:numRef>
              <c:f>Sheet1!$F$2:$F$3</c:f>
              <c:numCache>
                <c:formatCode>General</c:formatCode>
                <c:ptCount val="2"/>
                <c:pt idx="1">
                  <c:v>23583.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83.8333"/>
          <c:min val="1110.16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793.75</c:v>
                </c:pt>
                <c:pt idx="1">
                  <c:v>13434.1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741.8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74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8051.5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10325.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23583.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83.8333"/>
          <c:min val="1741.32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B$2:$B$3</c:f>
              <c:numCache>
                <c:formatCode>General</c:formatCode>
                <c:ptCount val="2"/>
                <c:pt idx="0">
                  <c:v>1204.3</c:v>
                </c:pt>
                <c:pt idx="1">
                  <c:v>2732.8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0</a:t>
                    </a:r>
                  </a:p>
                  <a:p>
                    <a:r>
                      <a:t>839.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C$2:$C$3</c:f>
              <c:numCache>
                <c:formatCode>General</c:formatCode>
                <c:ptCount val="2"/>
                <c:pt idx="0">
                  <c:v>83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D$2:$D$3</c:f>
              <c:numCache>
                <c:formatCode>General</c:formatCode>
                <c:ptCount val="2"/>
                <c:pt idx="0">
                  <c:v>1676.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E$2:$E$3</c:f>
              <c:numCache>
                <c:formatCode>General</c:formatCode>
                <c:ptCount val="2"/>
                <c:pt idx="0">
                  <c:v>616.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F$2:$F$3</c:f>
              <c:numCache>
                <c:formatCode>General</c:formatCode>
                <c:ptCount val="2"/>
                <c:pt idx="1">
                  <c:v>5320.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20.6724"/>
          <c:min val="615.54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B$2:$B$3</c:f>
              <c:numCache>
                <c:formatCode>General</c:formatCode>
                <c:ptCount val="2"/>
                <c:pt idx="0">
                  <c:v>1204.3</c:v>
                </c:pt>
                <c:pt idx="1">
                  <c:v>2732.8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5</a:t>
                    </a:r>
                  </a:p>
                  <a:p>
                    <a:r>
                      <a:t>1433.1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C$2:$C$3</c:f>
              <c:numCache>
                <c:formatCode>General</c:formatCode>
                <c:ptCount val="2"/>
                <c:pt idx="0">
                  <c:v>1433.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D$2:$D$3</c:f>
              <c:numCache>
                <c:formatCode>General</c:formatCode>
                <c:ptCount val="2"/>
                <c:pt idx="0">
                  <c:v>1676.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E$2:$E$3</c:f>
              <c:numCache>
                <c:formatCode>General</c:formatCode>
                <c:ptCount val="2"/>
                <c:pt idx="0">
                  <c:v>616.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5</c:v>
                </c:pt>
                <c:pt idx="1">
                  <c:v/>
                </c:pt>
              </c:strCache>
            </c:strRef>
          </c:cat>
          <c:val>
            <c:numRef>
              <c:f>Sheet1!$F$2:$F$3</c:f>
              <c:numCache>
                <c:formatCode>General</c:formatCode>
                <c:ptCount val="2"/>
                <c:pt idx="1">
                  <c:v>5320.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20.6724"/>
          <c:min val="615.54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B$2:$B$4</c:f>
              <c:numCache>
                <c:formatCode>General</c:formatCode>
                <c:ptCount val="3"/>
                <c:pt idx="0">
                  <c:v>1656.39</c:v>
                </c:pt>
                <c:pt idx="1">
                  <c:v>4624.22</c:v>
                </c:pt>
                <c:pt idx="2">
                  <c:v>1321.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80.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32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C$2:$C$4</c:f>
              <c:numCache>
                <c:formatCode>General</c:formatCode>
                <c:ptCount val="3"/>
                <c:pt idx="0">
                  <c:v>1380.39</c:v>
                </c:pt>
                <c:pt idx="2">
                  <c:v>132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D$2:$D$4</c:f>
              <c:numCache>
                <c:formatCode>General</c:formatCode>
                <c:ptCount val="3"/>
                <c:pt idx="0">
                  <c:v>1985.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E$2:$E$4</c:f>
              <c:numCache>
                <c:formatCode>General</c:formatCode>
                <c:ptCount val="3"/>
                <c:pt idx="0">
                  <c:v>8251.58</c:v>
                </c:pt>
                <c:pt idx="1">
                  <c:v>3836.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
                </c:pt>
                <c:pt idx="2">
                  <c:v>IX 100</c:v>
                </c:pt>
              </c:strCache>
            </c:strRef>
          </c:cat>
          <c:val>
            <c:numRef>
              <c:f>Sheet1!$F$2:$F$4</c:f>
              <c:numCache>
                <c:formatCode>General</c:formatCode>
                <c:ptCount val="3"/>
                <c:pt idx="1">
                  <c:v>6790.7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52.0758"/>
          <c:min val="1319.69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B$2:$B$4</c:f>
              <c:numCache>
                <c:formatCode>General</c:formatCode>
                <c:ptCount val="3"/>
                <c:pt idx="0">
                  <c:v>1656.39</c:v>
                </c:pt>
                <c:pt idx="1">
                  <c:v>4624.22</c:v>
                </c:pt>
                <c:pt idx="2">
                  <c:v>1321.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423.2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491.1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C$2:$C$4</c:f>
              <c:numCache>
                <c:formatCode>General</c:formatCode>
                <c:ptCount val="3"/>
                <c:pt idx="0">
                  <c:v>1423.27</c:v>
                </c:pt>
                <c:pt idx="2">
                  <c:v>1491.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D$2:$D$4</c:f>
              <c:numCache>
                <c:formatCode>General</c:formatCode>
                <c:ptCount val="3"/>
                <c:pt idx="0">
                  <c:v>1985.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E$2:$E$4</c:f>
              <c:numCache>
                <c:formatCode>General</c:formatCode>
                <c:ptCount val="3"/>
                <c:pt idx="0">
                  <c:v>8251.58</c:v>
                </c:pt>
                <c:pt idx="1">
                  <c:v>3836.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
                </c:pt>
                <c:pt idx="2">
                  <c:v>IX 100</c:v>
                </c:pt>
              </c:strCache>
            </c:strRef>
          </c:cat>
          <c:val>
            <c:numRef>
              <c:f>Sheet1!$F$2:$F$4</c:f>
              <c:numCache>
                <c:formatCode>General</c:formatCode>
                <c:ptCount val="3"/>
                <c:pt idx="1">
                  <c:v>6790.7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52.0758"/>
          <c:min val="1321.33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656.39</c:v>
                </c:pt>
                <c:pt idx="1">
                  <c:v>4624.22</c:v>
                </c:pt>
                <c:pt idx="2">
                  <c:v>1321.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2</a:t>
                    </a:r>
                  </a:p>
                  <a:p>
                    <a:r>
                      <a:t>499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99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985.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8251.58</c:v>
                </c:pt>
                <c:pt idx="1">
                  <c:v>3836.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1">
                  <c:v>6790.7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252.0758"/>
          <c:min val="1321.33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c:v>
                </c:pt>
                <c:pt idx="1">
                  <c:v/>
                </c:pt>
              </c:strCache>
            </c:strRef>
          </c:cat>
          <c:val>
            <c:numRef>
              <c:f>Sheet1!$B$2:$B$3</c:f>
              <c:numCache>
                <c:formatCode>General</c:formatCode>
                <c:ptCount val="2"/>
                <c:pt idx="0">
                  <c:v>1813.65</c:v>
                </c:pt>
                <c:pt idx="1">
                  <c:v>11506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a:t>
                    </a:r>
                  </a:p>
                  <a:p>
                    <a:r>
                      <a:t>157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c:v>
                </c:pt>
                <c:pt idx="1">
                  <c:v/>
                </c:pt>
              </c:strCache>
            </c:strRef>
          </c:cat>
          <c:val>
            <c:numRef>
              <c:f>Sheet1!$C$2:$C$3</c:f>
              <c:numCache>
                <c:formatCode>General</c:formatCode>
                <c:ptCount val="2"/>
                <c:pt idx="0">
                  <c:v>157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c:v>
                </c:pt>
                <c:pt idx="1">
                  <c:v/>
                </c:pt>
              </c:strCache>
            </c:strRef>
          </c:cat>
          <c:val>
            <c:numRef>
              <c:f>Sheet1!$D$2:$D$3</c:f>
              <c:numCache>
                <c:formatCode>General</c:formatCode>
                <c:ptCount val="2"/>
                <c:pt idx="0">
                  <c:v>19846.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c:v>
                </c:pt>
                <c:pt idx="1">
                  <c:v/>
                </c:pt>
              </c:strCache>
            </c:strRef>
          </c:cat>
          <c:val>
            <c:numRef>
              <c:f>Sheet1!$E$2:$E$3</c:f>
              <c:numCache>
                <c:formatCode>General</c:formatCode>
                <c:ptCount val="2"/>
                <c:pt idx="1">
                  <c:v>9077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5064.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5</c:v>
                </c:pt>
                <c:pt idx="1">
                  <c:v/>
                </c:pt>
                <c:pt idx="2">
                  <c:v/>
                </c:pt>
                <c:pt idx="3">
                  <c:v/>
                </c:pt>
              </c:strCache>
            </c:strRef>
          </c:cat>
          <c:val>
            <c:numRef>
              <c:f>Sheet1!$B$2:$B$5</c:f>
              <c:numCache>
                <c:formatCode>General</c:formatCode>
                <c:ptCount val="4"/>
                <c:pt idx="0">
                  <c:v>1598.77</c:v>
                </c:pt>
                <c:pt idx="1">
                  <c:v>1094.98</c:v>
                </c:pt>
                <c:pt idx="2">
                  <c:v>558.19</c:v>
                </c:pt>
                <c:pt idx="3">
                  <c:v>6026.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5</a:t>
                    </a:r>
                  </a:p>
                  <a:p>
                    <a:r>
                      <a:t>4326.9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5</c:v>
                </c:pt>
                <c:pt idx="1">
                  <c:v/>
                </c:pt>
                <c:pt idx="2">
                  <c:v/>
                </c:pt>
                <c:pt idx="3">
                  <c:v/>
                </c:pt>
              </c:strCache>
            </c:strRef>
          </c:cat>
          <c:val>
            <c:numRef>
              <c:f>Sheet1!$C$2:$C$5</c:f>
              <c:numCache>
                <c:formatCode>General</c:formatCode>
                <c:ptCount val="4"/>
                <c:pt idx="0">
                  <c:v>4326.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5</c:v>
                </c:pt>
                <c:pt idx="1">
                  <c:v/>
                </c:pt>
                <c:pt idx="2">
                  <c:v/>
                </c:pt>
                <c:pt idx="3">
                  <c:v/>
                </c:pt>
              </c:strCache>
            </c:strRef>
          </c:cat>
          <c:val>
            <c:numRef>
              <c:f>Sheet1!$D$2:$D$5</c:f>
              <c:numCache>
                <c:formatCode>General</c:formatCode>
                <c:ptCount val="4"/>
                <c:pt idx="0">
                  <c:v>1694.46</c:v>
                </c:pt>
                <c:pt idx="1">
                  <c:v>1259.12</c:v>
                </c:pt>
                <c:pt idx="2">
                  <c:v>581.4</c:v>
                </c:pt>
                <c:pt idx="3">
                  <c:v>1452.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5</c:v>
                </c:pt>
                <c:pt idx="1">
                  <c:v/>
                </c:pt>
                <c:pt idx="2">
                  <c:v/>
                </c:pt>
                <c:pt idx="3">
                  <c:v/>
                </c:pt>
              </c:strCache>
            </c:strRef>
          </c:cat>
          <c:val>
            <c:numRef>
              <c:f>Sheet1!$E$2:$E$5</c:f>
              <c:numCache>
                <c:formatCode>General</c:formatCode>
                <c:ptCount val="4"/>
                <c:pt idx="0">
                  <c:v>10020.58</c:v>
                </c:pt>
                <c:pt idx="2">
                  <c:v>5380.0</c:v>
                </c:pt>
                <c:pt idx="3">
                  <c:v>12611.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5</c:v>
                </c:pt>
                <c:pt idx="1">
                  <c:v/>
                </c:pt>
                <c:pt idx="2">
                  <c:v/>
                </c:pt>
                <c:pt idx="3">
                  <c:v/>
                </c:pt>
              </c:strCache>
            </c:strRef>
          </c:cat>
          <c:val>
            <c:numRef>
              <c:f>Sheet1!$F$2:$F$5</c:f>
              <c:numCache>
                <c:formatCode>General</c:formatCode>
                <c:ptCount val="4"/>
                <c:pt idx="0">
                  <c:v>7066.39</c:v>
                </c:pt>
                <c:pt idx="3">
                  <c:v>10575.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12.1034"/>
          <c:min val="557.68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813.65</c:v>
                </c:pt>
                <c:pt idx="1">
                  <c:v>11506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782.7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782.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stel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19846.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9077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5064.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B$2:$B$3</c:f>
              <c:numCache>
                <c:formatCode>General</c:formatCode>
                <c:ptCount val="2"/>
                <c:pt idx="0">
                  <c:v>1332.2</c:v>
                </c:pt>
                <c:pt idx="1">
                  <c:v>1878.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0</a:t>
                    </a:r>
                  </a:p>
                  <a:p>
                    <a:r>
                      <a:t>840.8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C$2:$C$3</c:f>
              <c:numCache>
                <c:formatCode>General</c:formatCode>
                <c:ptCount val="2"/>
                <c:pt idx="0">
                  <c:v>840.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D$2:$D$3</c:f>
              <c:numCache>
                <c:formatCode>General</c:formatCode>
                <c:ptCount val="2"/>
                <c:pt idx="0">
                  <c:v>1678.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E$2:$E$3</c:f>
              <c:numCache>
                <c:formatCode>General</c:formatCode>
                <c:ptCount val="2"/>
                <c:pt idx="0">
                  <c:v>608.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
                </c:pt>
              </c:strCache>
            </c:strRef>
          </c:cat>
          <c:val>
            <c:numRef>
              <c:f>Sheet1!$F$2:$F$3</c:f>
              <c:numCache>
                <c:formatCode>General</c:formatCode>
                <c:ptCount val="2"/>
                <c:pt idx="1">
                  <c:v>10516.4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16.9167"/>
          <c:min val="607.7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B$2:$B$3</c:f>
              <c:numCache>
                <c:formatCode>General</c:formatCode>
                <c:ptCount val="2"/>
                <c:pt idx="0">
                  <c:v>1332.2</c:v>
                </c:pt>
                <c:pt idx="1">
                  <c:v>1878.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7</a:t>
                    </a:r>
                  </a:p>
                  <a:p>
                    <a:r>
                      <a:t>1464.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C$2:$C$3</c:f>
              <c:numCache>
                <c:formatCode>General</c:formatCode>
                <c:ptCount val="2"/>
                <c:pt idx="0">
                  <c:v>1464.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D$2:$D$3</c:f>
              <c:numCache>
                <c:formatCode>General</c:formatCode>
                <c:ptCount val="2"/>
                <c:pt idx="0">
                  <c:v>1678.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ribbean Beach</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E$2:$E$3</c:f>
              <c:numCache>
                <c:formatCode>General</c:formatCode>
                <c:ptCount val="2"/>
                <c:pt idx="0">
                  <c:v>608.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7</c:v>
                </c:pt>
                <c:pt idx="1">
                  <c:v/>
                </c:pt>
              </c:strCache>
            </c:strRef>
          </c:cat>
          <c:val>
            <c:numRef>
              <c:f>Sheet1!$F$2:$F$3</c:f>
              <c:numCache>
                <c:formatCode>General</c:formatCode>
                <c:ptCount val="2"/>
                <c:pt idx="1">
                  <c:v>10516.4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16.9167"/>
          <c:min val="607.7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47</c:v>
                </c:pt>
              </c:strCache>
            </c:strRef>
          </c:cat>
          <c:val>
            <c:numRef>
              <c:f>Sheet1!$B$2:$B$6</c:f>
              <c:numCache>
                <c:formatCode>General</c:formatCode>
                <c:ptCount val="5"/>
                <c:pt idx="0">
                  <c:v>1740.63</c:v>
                </c:pt>
                <c:pt idx="1">
                  <c:v>1363.83</c:v>
                </c:pt>
                <c:pt idx="2">
                  <c:v>1412.98</c:v>
                </c:pt>
                <c:pt idx="3">
                  <c:v>1747.7</c:v>
                </c:pt>
                <c:pt idx="4">
                  <c:v>10745.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112.37</a:t>
                    </a:r>
                  </a:p>
                </c:rich>
              </c:tx>
              <c:dLblPos val="l"/>
              <c:showLegendKey val="0"/>
              <c:showVal val="1"/>
              <c:showCatName val="0"/>
              <c:showSerName val="0"/>
              <c:showPercent val="0"/>
              <c:showBubbleSize val="0"/>
            </c:dLbl>
            <c:dLbl>
              <c:idx val="1"/>
              <c:tx>
                <c:rich>
                  <a:bodyPr/>
                  <a:lstStyle/>
                  <a:p>
                    <a:r>
                      <a:t>IX 100</a:t>
                    </a:r>
                  </a:p>
                  <a:p>
                    <a:r>
                      <a:t>1240.83</a:t>
                    </a:r>
                  </a:p>
                </c:rich>
              </c:tx>
              <c:dLblPos val="l"/>
              <c:showLegendKey val="0"/>
              <c:showVal val="1"/>
              <c:showCatName val="0"/>
              <c:showSerName val="0"/>
              <c:showPercent val="0"/>
              <c:showBubbleSize val="0"/>
            </c:dLbl>
            <c:dLbl>
              <c:idx val="2"/>
              <c:tx>
                <c:rich>
                  <a:bodyPr/>
                  <a:lstStyle/>
                  <a:p>
                    <a:r>
                      <a:t>IX 100</a:t>
                    </a:r>
                  </a:p>
                  <a:p>
                    <a:r>
                      <a:t>1332.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7</a:t>
                    </a:r>
                  </a:p>
                  <a:p>
                    <a:r>
                      <a:t>563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47</c:v>
                </c:pt>
              </c:strCache>
            </c:strRef>
          </c:cat>
          <c:val>
            <c:numRef>
              <c:f>Sheet1!$C$2:$C$6</c:f>
              <c:numCache>
                <c:formatCode>General</c:formatCode>
                <c:ptCount val="5"/>
                <c:pt idx="0">
                  <c:v>1112.37</c:v>
                </c:pt>
                <c:pt idx="1">
                  <c:v>1240.83</c:v>
                </c:pt>
                <c:pt idx="2">
                  <c:v>1332.4</c:v>
                </c:pt>
                <c:pt idx="4">
                  <c:v>563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47</c:v>
                </c:pt>
              </c:strCache>
            </c:strRef>
          </c:cat>
          <c:val>
            <c:numRef>
              <c:f>Sheet1!$D$2:$D$6</c:f>
              <c:numCache>
                <c:formatCode>General</c:formatCode>
                <c:ptCount val="5"/>
                <c:pt idx="0">
                  <c:v>2420.97</c:v>
                </c:pt>
                <c:pt idx="1">
                  <c:v>1342.59</c:v>
                </c:pt>
                <c:pt idx="2">
                  <c:v>1443.52</c:v>
                </c:pt>
                <c:pt idx="3">
                  <c:v>1505.59</c:v>
                </c:pt>
                <c:pt idx="4">
                  <c:v>7151.5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47</c:v>
                </c:pt>
              </c:strCache>
            </c:strRef>
          </c:cat>
          <c:val>
            <c:numRef>
              <c:f>Sheet1!$E$2:$E$6</c:f>
              <c:numCache>
                <c:formatCode>General</c:formatCode>
                <c:ptCount val="5"/>
                <c:pt idx="0">
                  <c:v>12460.42</c:v>
                </c:pt>
                <c:pt idx="1">
                  <c:v>18957.85</c:v>
                </c:pt>
                <c:pt idx="2">
                  <c:v>6054.97</c:v>
                </c:pt>
                <c:pt idx="3">
                  <c:v>2460.71</c:v>
                </c:pt>
                <c:pt idx="4">
                  <c:v>14072.6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47</c:v>
                </c:pt>
              </c:strCache>
            </c:strRef>
          </c:cat>
          <c:val>
            <c:numRef>
              <c:f>Sheet1!$F$2:$F$6</c:f>
              <c:numCache>
                <c:formatCode>General</c:formatCode>
                <c:ptCount val="5"/>
                <c:pt idx="0">
                  <c:v>6166.62</c:v>
                </c:pt>
                <c:pt idx="1">
                  <c:v>6413.29</c:v>
                </c:pt>
                <c:pt idx="2">
                  <c:v>3880.57</c:v>
                </c:pt>
                <c:pt idx="3">
                  <c:v>11701.5</c:v>
                </c:pt>
                <c:pt idx="4">
                  <c:v>12082.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958.3472"/>
          <c:min val="1111.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IX 100</c:v>
                </c:pt>
                <c:pt idx="4">
                  <c:v/>
                </c:pt>
              </c:strCache>
            </c:strRef>
          </c:cat>
          <c:val>
            <c:numRef>
              <c:f>Sheet1!$B$2:$B$6</c:f>
              <c:numCache>
                <c:formatCode>General</c:formatCode>
                <c:ptCount val="5"/>
                <c:pt idx="0">
                  <c:v>14992.05</c:v>
                </c:pt>
                <c:pt idx="1">
                  <c:v>1060.36</c:v>
                </c:pt>
                <c:pt idx="2">
                  <c:v>10058.66</c:v>
                </c:pt>
                <c:pt idx="3">
                  <c:v>337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826.59</a:t>
                    </a:r>
                  </a:p>
                </c:rich>
              </c:tx>
              <c:dLblPos val="l"/>
              <c:showLegendKey val="0"/>
              <c:showVal val="1"/>
              <c:showCatName val="0"/>
              <c:showSerName val="0"/>
              <c:showPercent val="0"/>
              <c:showBubbleSize val="0"/>
            </c:dLbl>
            <c:dLbl>
              <c:idx val="2"/>
              <c:tx>
                <c:rich>
                  <a:bodyPr/>
                  <a:lstStyle/>
                  <a:p>
                    <a:r>
                      <a:t>IX 8</a:t>
                    </a:r>
                  </a:p>
                  <a:p>
                    <a:r>
                      <a:t>1189.75</a:t>
                    </a:r>
                  </a:p>
                </c:rich>
              </c:tx>
              <c:dLblPos val="l"/>
              <c:showLegendKey val="0"/>
              <c:showVal val="1"/>
              <c:showCatName val="0"/>
              <c:showSerName val="0"/>
              <c:showPercent val="0"/>
              <c:showBubbleSize val="0"/>
            </c:dLbl>
            <c:dLbl>
              <c:idx val="3"/>
              <c:tx>
                <c:rich>
                  <a:bodyPr/>
                  <a:lstStyle/>
                  <a:p>
                    <a:r>
                      <a:t>IX 100</a:t>
                    </a:r>
                  </a:p>
                  <a:p>
                    <a:r>
                      <a:t>3377.7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IX 100</c:v>
                </c:pt>
                <c:pt idx="4">
                  <c:v/>
                </c:pt>
              </c:strCache>
            </c:strRef>
          </c:cat>
          <c:val>
            <c:numRef>
              <c:f>Sheet1!$C$2:$C$6</c:f>
              <c:numCache>
                <c:formatCode>General</c:formatCode>
                <c:ptCount val="5"/>
                <c:pt idx="1">
                  <c:v>826.59</c:v>
                </c:pt>
                <c:pt idx="2">
                  <c:v>1189.75</c:v>
                </c:pt>
                <c:pt idx="3">
                  <c:v>3377.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IX 100</c:v>
                </c:pt>
                <c:pt idx="4">
                  <c:v/>
                </c:pt>
              </c:strCache>
            </c:strRef>
          </c:cat>
          <c:val>
            <c:numRef>
              <c:f>Sheet1!$D$2:$D$6</c:f>
              <c:numCache>
                <c:formatCode>General</c:formatCode>
                <c:ptCount val="5"/>
                <c:pt idx="0">
                  <c:v>14992.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IX 100</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IX 100</c:v>
                </c:pt>
                <c:pt idx="4">
                  <c:v/>
                </c:pt>
              </c:strCache>
            </c:strRef>
          </c:cat>
          <c:val>
            <c:numRef>
              <c:f>Sheet1!$F$2:$F$6</c:f>
              <c:numCache>
                <c:formatCode>General</c:formatCode>
                <c:ptCount val="5"/>
                <c:pt idx="2">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826.094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6</c:v>
                </c:pt>
                <c:pt idx="2">
                  <c:v/>
                </c:pt>
                <c:pt idx="3">
                  <c:v>IX 124</c:v>
                </c:pt>
                <c:pt idx="4">
                  <c:v/>
                </c:pt>
              </c:strCache>
            </c:strRef>
          </c:cat>
          <c:val>
            <c:numRef>
              <c:f>Sheet1!$B$2:$B$6</c:f>
              <c:numCache>
                <c:formatCode>General</c:formatCode>
                <c:ptCount val="5"/>
                <c:pt idx="0">
                  <c:v>696.44</c:v>
                </c:pt>
                <c:pt idx="1">
                  <c:v>1315.27</c:v>
                </c:pt>
                <c:pt idx="2">
                  <c:v>1694.59</c:v>
                </c:pt>
                <c:pt idx="3">
                  <c:v>1438.59</c:v>
                </c:pt>
                <c:pt idx="4">
                  <c:v>39236.2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57.88</a:t>
                    </a:r>
                  </a:p>
                </c:rich>
              </c:tx>
              <c:dLblPos val="l"/>
              <c:showLegendKey val="0"/>
              <c:showVal val="1"/>
              <c:showCatName val="0"/>
              <c:showSerName val="0"/>
              <c:showPercent val="0"/>
              <c:showBubbleSize val="0"/>
            </c:dLbl>
            <c:dLbl>
              <c:idx val="1"/>
              <c:tx>
                <c:rich>
                  <a:bodyPr/>
                  <a:lstStyle/>
                  <a:p>
                    <a:r>
                      <a:t>IX 46</a:t>
                    </a:r>
                  </a:p>
                  <a:p>
                    <a:r>
                      <a:t>596.5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24</a:t>
                    </a:r>
                  </a:p>
                  <a:p>
                    <a:r>
                      <a:t>1779.9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6</c:v>
                </c:pt>
                <c:pt idx="2">
                  <c:v/>
                </c:pt>
                <c:pt idx="3">
                  <c:v>IX 124</c:v>
                </c:pt>
                <c:pt idx="4">
                  <c:v/>
                </c:pt>
              </c:strCache>
            </c:strRef>
          </c:cat>
          <c:val>
            <c:numRef>
              <c:f>Sheet1!$C$2:$C$6</c:f>
              <c:numCache>
                <c:formatCode>General</c:formatCode>
                <c:ptCount val="5"/>
                <c:pt idx="0">
                  <c:v>1057.88</c:v>
                </c:pt>
                <c:pt idx="1">
                  <c:v>596.55</c:v>
                </c:pt>
                <c:pt idx="3">
                  <c:v>1779.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oderm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6</c:v>
                </c:pt>
                <c:pt idx="2">
                  <c:v/>
                </c:pt>
                <c:pt idx="3">
                  <c:v>IX 124</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6</c:v>
                </c:pt>
                <c:pt idx="2">
                  <c:v/>
                </c:pt>
                <c:pt idx="3">
                  <c:v>IX 124</c:v>
                </c:pt>
                <c:pt idx="4">
                  <c:v/>
                </c:pt>
              </c:strCache>
            </c:strRef>
          </c:cat>
          <c:val>
            <c:numRef>
              <c:f>Sheet1!$E$2:$E$6</c:f>
              <c:numCache>
                <c:formatCode>General</c:formatCode>
                <c:ptCount val="5"/>
                <c:pt idx="1">
                  <c:v>2125.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iersdorf</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6</c:v>
                </c:pt>
                <c:pt idx="2">
                  <c:v/>
                </c:pt>
                <c:pt idx="3">
                  <c:v>IX 124</c:v>
                </c:pt>
                <c:pt idx="4">
                  <c:v/>
                </c:pt>
              </c:strCache>
            </c:strRef>
          </c:cat>
          <c:val>
            <c:numRef>
              <c:f>Sheet1!$F$2:$F$6</c:f>
              <c:numCache>
                <c:formatCode>General</c:formatCode>
                <c:ptCount val="5"/>
                <c:pt idx="1">
                  <c:v>1287.65</c:v>
                </c:pt>
                <c:pt idx="2">
                  <c:v>1693.04</c:v>
                </c:pt>
                <c:pt idx="3">
                  <c:v>1433.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9236.72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100</c:v>
                </c:pt>
                <c:pt idx="2">
                  <c:v/>
                </c:pt>
                <c:pt idx="3">
                  <c:v>IX 100</c:v>
                </c:pt>
                <c:pt idx="4">
                  <c:v>IX 74</c:v>
                </c:pt>
              </c:strCache>
            </c:strRef>
          </c:cat>
          <c:val>
            <c:numRef>
              <c:f>Sheet1!$B$2:$B$6</c:f>
              <c:numCache>
                <c:formatCode>General</c:formatCode>
                <c:ptCount val="5"/>
                <c:pt idx="0">
                  <c:v>1787.1</c:v>
                </c:pt>
                <c:pt idx="1">
                  <c:v>1382.53</c:v>
                </c:pt>
                <c:pt idx="2">
                  <c:v>1743.63</c:v>
                </c:pt>
                <c:pt idx="3">
                  <c:v>1380.8</c:v>
                </c:pt>
                <c:pt idx="4">
                  <c:v>10299.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7</a:t>
                    </a:r>
                  </a:p>
                  <a:p>
                    <a:r>
                      <a:t>1118.06</a:t>
                    </a:r>
                  </a:p>
                </c:rich>
              </c:tx>
              <c:dLblPos val="l"/>
              <c:showLegendKey val="0"/>
              <c:showVal val="1"/>
              <c:showCatName val="0"/>
              <c:showSerName val="0"/>
              <c:showPercent val="0"/>
              <c:showBubbleSize val="0"/>
            </c:dLbl>
            <c:dLbl>
              <c:idx val="1"/>
              <c:tx>
                <c:rich>
                  <a:bodyPr/>
                  <a:lstStyle/>
                  <a:p>
                    <a:r>
                      <a:t>IX 100</a:t>
                    </a:r>
                  </a:p>
                  <a:p>
                    <a:r>
                      <a:t>1258.5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251.11</a:t>
                    </a:r>
                  </a:p>
                </c:rich>
              </c:tx>
              <c:dLblPos val="l"/>
              <c:showLegendKey val="0"/>
              <c:showVal val="1"/>
              <c:showCatName val="0"/>
              <c:showSerName val="0"/>
              <c:showPercent val="0"/>
              <c:showBubbleSize val="0"/>
            </c:dLbl>
            <c:dLbl>
              <c:idx val="4"/>
              <c:tx>
                <c:rich>
                  <a:bodyPr/>
                  <a:lstStyle/>
                  <a:p>
                    <a:r>
                      <a:t>IX 74</a:t>
                    </a:r>
                  </a:p>
                  <a:p>
                    <a:r>
                      <a:t>5413.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100</c:v>
                </c:pt>
                <c:pt idx="2">
                  <c:v/>
                </c:pt>
                <c:pt idx="3">
                  <c:v>IX 100</c:v>
                </c:pt>
                <c:pt idx="4">
                  <c:v>IX 74</c:v>
                </c:pt>
              </c:strCache>
            </c:strRef>
          </c:cat>
          <c:val>
            <c:numRef>
              <c:f>Sheet1!$C$2:$C$6</c:f>
              <c:numCache>
                <c:formatCode>General</c:formatCode>
                <c:ptCount val="5"/>
                <c:pt idx="0">
                  <c:v>1118.06</c:v>
                </c:pt>
                <c:pt idx="1">
                  <c:v>1258.52</c:v>
                </c:pt>
                <c:pt idx="3">
                  <c:v>1251.11</c:v>
                </c:pt>
                <c:pt idx="4">
                  <c:v>541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100</c:v>
                </c:pt>
                <c:pt idx="2">
                  <c:v/>
                </c:pt>
                <c:pt idx="3">
                  <c:v>IX 100</c:v>
                </c:pt>
                <c:pt idx="4">
                  <c:v>IX 74</c:v>
                </c:pt>
              </c:strCache>
            </c:strRef>
          </c:cat>
          <c:val>
            <c:numRef>
              <c:f>Sheet1!$D$2:$D$6</c:f>
              <c:numCache>
                <c:formatCode>General</c:formatCode>
                <c:ptCount val="5"/>
                <c:pt idx="0">
                  <c:v>2396.92</c:v>
                </c:pt>
                <c:pt idx="1">
                  <c:v>1344.21</c:v>
                </c:pt>
                <c:pt idx="2">
                  <c:v>1528.72</c:v>
                </c:pt>
                <c:pt idx="3">
                  <c:v>1422.48</c:v>
                </c:pt>
                <c:pt idx="4">
                  <c:v>731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100</c:v>
                </c:pt>
                <c:pt idx="2">
                  <c:v/>
                </c:pt>
                <c:pt idx="3">
                  <c:v>IX 100</c:v>
                </c:pt>
                <c:pt idx="4">
                  <c:v>IX 74</c:v>
                </c:pt>
              </c:strCache>
            </c:strRef>
          </c:cat>
          <c:val>
            <c:numRef>
              <c:f>Sheet1!$E$2:$E$6</c:f>
              <c:numCache>
                <c:formatCode>General</c:formatCode>
                <c:ptCount val="5"/>
                <c:pt idx="0">
                  <c:v>12474.58</c:v>
                </c:pt>
                <c:pt idx="1">
                  <c:v>14152.06</c:v>
                </c:pt>
                <c:pt idx="2">
                  <c:v>2401.76</c:v>
                </c:pt>
                <c:pt idx="3">
                  <c:v>5868.88</c:v>
                </c:pt>
                <c:pt idx="4">
                  <c:v>13543.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100</c:v>
                </c:pt>
                <c:pt idx="2">
                  <c:v/>
                </c:pt>
                <c:pt idx="3">
                  <c:v>IX 100</c:v>
                </c:pt>
                <c:pt idx="4">
                  <c:v>IX 74</c:v>
                </c:pt>
              </c:strCache>
            </c:strRef>
          </c:cat>
          <c:val>
            <c:numRef>
              <c:f>Sheet1!$F$2:$F$6</c:f>
              <c:numCache>
                <c:formatCode>General</c:formatCode>
                <c:ptCount val="5"/>
                <c:pt idx="0">
                  <c:v>5762.44</c:v>
                </c:pt>
                <c:pt idx="1">
                  <c:v>6163.65</c:v>
                </c:pt>
                <c:pt idx="2">
                  <c:v>12296.72</c:v>
                </c:pt>
                <c:pt idx="4">
                  <c:v>12910.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152.564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B$2:$B$5</c:f>
              <c:numCache>
                <c:formatCode>General</c:formatCode>
                <c:ptCount val="4"/>
                <c:pt idx="0">
                  <c:v>11774.95</c:v>
                </c:pt>
                <c:pt idx="1">
                  <c:v>964.34</c:v>
                </c:pt>
                <c:pt idx="2">
                  <c:v>23504.17</c:v>
                </c:pt>
                <c:pt idx="3">
                  <c:v>370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787.5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700.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C$2:$C$5</c:f>
              <c:numCache>
                <c:formatCode>General</c:formatCode>
                <c:ptCount val="4"/>
                <c:pt idx="1">
                  <c:v>787.51</c:v>
                </c:pt>
                <c:pt idx="3">
                  <c:v>370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D$2:$D$5</c:f>
              <c:numCache>
                <c:formatCode>General</c:formatCode>
                <c:ptCount val="4"/>
                <c:pt idx="0">
                  <c:v>11774.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F$2:$F$5</c:f>
              <c:numCache>
                <c:formatCode>General</c:formatCode>
                <c:ptCount val="4"/>
                <c:pt idx="2">
                  <c:v>23504.1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787.00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B$2:$B$6</c:f>
              <c:numCache>
                <c:formatCode>General</c:formatCode>
                <c:ptCount val="5"/>
                <c:pt idx="0">
                  <c:v>1301.42</c:v>
                </c:pt>
                <c:pt idx="1">
                  <c:v>667.13</c:v>
                </c:pt>
                <c:pt idx="2">
                  <c:v>1722.99</c:v>
                </c:pt>
                <c:pt idx="3">
                  <c:v>1435.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5</a:t>
                    </a:r>
                  </a:p>
                  <a:p>
                    <a:r>
                      <a:t>584.17</a:t>
                    </a:r>
                  </a:p>
                </c:rich>
              </c:tx>
              <c:dLblPos val="l"/>
              <c:showLegendKey val="0"/>
              <c:showVal val="1"/>
              <c:showCatName val="0"/>
              <c:showSerName val="0"/>
              <c:showPercent val="0"/>
              <c:showBubbleSize val="0"/>
            </c:dLbl>
            <c:dLbl>
              <c:idx val="1"/>
              <c:tx>
                <c:rich>
                  <a:bodyPr/>
                  <a:lstStyle/>
                  <a:p>
                    <a:r>
                      <a:t>IX 100</a:t>
                    </a:r>
                  </a:p>
                  <a:p>
                    <a:r>
                      <a:t>1081.1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94</a:t>
                    </a:r>
                  </a:p>
                  <a:p>
                    <a:r>
                      <a:t>1350.3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C$2:$C$6</c:f>
              <c:numCache>
                <c:formatCode>General</c:formatCode>
                <c:ptCount val="5"/>
                <c:pt idx="0">
                  <c:v>584.17</c:v>
                </c:pt>
                <c:pt idx="1">
                  <c:v>1081.11</c:v>
                </c:pt>
                <c:pt idx="3">
                  <c:v>1350.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D$2:$D$6</c:f>
              <c:numCache>
                <c:formatCode>General</c:formatCode>
                <c:ptCount val="5"/>
                <c:pt idx="0">
                  <c:v>1288.42</c:v>
                </c:pt>
                <c:pt idx="2">
                  <c:v>1722.13</c:v>
                </c:pt>
                <c:pt idx="3">
                  <c:v>143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E$2:$E$6</c:f>
              <c:numCache>
                <c:formatCode>General</c:formatCode>
                <c:ptCount val="5"/>
                <c:pt idx="0">
                  <c:v>2050.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oderm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50.8962"/>
          <c:min val="583.66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54</c:v>
                </c:pt>
                <c:pt idx="4">
                  <c:v>IX 100</c:v>
                </c:pt>
              </c:strCache>
            </c:strRef>
          </c:cat>
          <c:val>
            <c:numRef>
              <c:f>Sheet1!$B$2:$B$6</c:f>
              <c:numCache>
                <c:formatCode>General</c:formatCode>
                <c:ptCount val="5"/>
                <c:pt idx="0">
                  <c:v>2212.34</c:v>
                </c:pt>
                <c:pt idx="1">
                  <c:v>1375.45</c:v>
                </c:pt>
                <c:pt idx="2">
                  <c:v>2170.78</c:v>
                </c:pt>
                <c:pt idx="3">
                  <c:v>10595.32</c:v>
                </c:pt>
                <c:pt idx="4">
                  <c:v>1425.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1086.2</a:t>
                    </a:r>
                  </a:p>
                </c:rich>
              </c:tx>
              <c:dLblPos val="l"/>
              <c:showLegendKey val="0"/>
              <c:showVal val="1"/>
              <c:showCatName val="0"/>
              <c:showSerName val="0"/>
              <c:showPercent val="0"/>
              <c:showBubbleSize val="0"/>
            </c:dLbl>
            <c:dLbl>
              <c:idx val="1"/>
              <c:tx>
                <c:rich>
                  <a:bodyPr/>
                  <a:lstStyle/>
                  <a:p>
                    <a:r>
                      <a:t>IX 100</a:t>
                    </a:r>
                  </a:p>
                  <a:p>
                    <a:r>
                      <a:t>1220.2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54</a:t>
                    </a:r>
                  </a:p>
                  <a:p>
                    <a:r>
                      <a:t>5846.71</a:t>
                    </a:r>
                  </a:p>
                </c:rich>
              </c:tx>
              <c:dLblPos val="l"/>
              <c:showLegendKey val="0"/>
              <c:showVal val="1"/>
              <c:showCatName val="0"/>
              <c:showSerName val="0"/>
              <c:showPercent val="0"/>
              <c:showBubbleSize val="0"/>
            </c:dLbl>
            <c:dLbl>
              <c:idx val="4"/>
              <c:tx>
                <c:rich>
                  <a:bodyPr/>
                  <a:lstStyle/>
                  <a:p>
                    <a:r>
                      <a:t>IX 100</a:t>
                    </a:r>
                  </a:p>
                  <a:p>
                    <a:r>
                      <a:t>1207.0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54</c:v>
                </c:pt>
                <c:pt idx="4">
                  <c:v>IX 100</c:v>
                </c:pt>
              </c:strCache>
            </c:strRef>
          </c:cat>
          <c:val>
            <c:numRef>
              <c:f>Sheet1!$C$2:$C$6</c:f>
              <c:numCache>
                <c:formatCode>General</c:formatCode>
                <c:ptCount val="5"/>
                <c:pt idx="0">
                  <c:v>1086.2</c:v>
                </c:pt>
                <c:pt idx="1">
                  <c:v>1220.28</c:v>
                </c:pt>
                <c:pt idx="3">
                  <c:v>5846.71</c:v>
                </c:pt>
                <c:pt idx="4">
                  <c:v>1207.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54</c:v>
                </c:pt>
                <c:pt idx="4">
                  <c:v>IX 100</c:v>
                </c:pt>
              </c:strCache>
            </c:strRef>
          </c:cat>
          <c:val>
            <c:numRef>
              <c:f>Sheet1!$D$2:$D$6</c:f>
              <c:numCache>
                <c:formatCode>General</c:formatCode>
                <c:ptCount val="5"/>
                <c:pt idx="0">
                  <c:v>2648.1</c:v>
                </c:pt>
                <c:pt idx="1">
                  <c:v>1344.81</c:v>
                </c:pt>
                <c:pt idx="2">
                  <c:v>1761.66</c:v>
                </c:pt>
                <c:pt idx="3">
                  <c:v>7203.72</c:v>
                </c:pt>
                <c:pt idx="4">
                  <c:v>1475.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54</c:v>
                </c:pt>
                <c:pt idx="4">
                  <c:v>IX 100</c:v>
                </c:pt>
              </c:strCache>
            </c:strRef>
          </c:cat>
          <c:val>
            <c:numRef>
              <c:f>Sheet1!$E$2:$E$6</c:f>
              <c:numCache>
                <c:formatCode>General</c:formatCode>
                <c:ptCount val="5"/>
                <c:pt idx="0">
                  <c:v>11431.4</c:v>
                </c:pt>
                <c:pt idx="1">
                  <c:v>14310.04</c:v>
                </c:pt>
                <c:pt idx="2">
                  <c:v>2471.76</c:v>
                </c:pt>
                <c:pt idx="3">
                  <c:v>11712.08</c:v>
                </c:pt>
                <c:pt idx="4">
                  <c:v>5825.4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54</c:v>
                </c:pt>
                <c:pt idx="4">
                  <c:v>IX 100</c:v>
                </c:pt>
              </c:strCache>
            </c:strRef>
          </c:cat>
          <c:val>
            <c:numRef>
              <c:f>Sheet1!$F$2:$F$6</c:f>
              <c:numCache>
                <c:formatCode>General</c:formatCode>
                <c:ptCount val="5"/>
                <c:pt idx="0">
                  <c:v>6750.49</c:v>
                </c:pt>
                <c:pt idx="1">
                  <c:v>6874.73</c:v>
                </c:pt>
                <c:pt idx="2">
                  <c:v>11059.26</c:v>
                </c:pt>
                <c:pt idx="3">
                  <c:v>10912.84</c:v>
                </c:pt>
                <c:pt idx="4">
                  <c:v>3608.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310.5357"/>
          <c:min val="1085.69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B$2:$B$5</c:f>
              <c:numCache>
                <c:formatCode>General</c:formatCode>
                <c:ptCount val="4"/>
                <c:pt idx="0">
                  <c:v>1573.0</c:v>
                </c:pt>
                <c:pt idx="1">
                  <c:v>1142.43</c:v>
                </c:pt>
                <c:pt idx="2">
                  <c:v>580.67</c:v>
                </c:pt>
                <c:pt idx="3">
                  <c:v>3912.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57.07</a:t>
                    </a:r>
                  </a:p>
                </c:rich>
              </c:tx>
              <c:dLblPos val="l"/>
              <c:showLegendKey val="0"/>
              <c:showVal val="1"/>
              <c:showCatName val="0"/>
              <c:showSerName val="0"/>
              <c:showPercent val="0"/>
              <c:showBubbleSize val="0"/>
            </c:dLbl>
            <c:dLbl>
              <c:idx val="1"/>
              <c:tx>
                <c:rich>
                  <a:bodyPr/>
                  <a:lstStyle/>
                  <a:p>
                    <a:r>
                      <a:t>IX 100</a:t>
                    </a:r>
                  </a:p>
                  <a:p>
                    <a:r>
                      <a:t>1129.8</a:t>
                    </a:r>
                  </a:p>
                </c:rich>
              </c:tx>
              <c:dLblPos val="l"/>
              <c:showLegendKey val="0"/>
              <c:showVal val="1"/>
              <c:showCatName val="0"/>
              <c:showSerName val="0"/>
              <c:showPercent val="0"/>
              <c:showBubbleSize val="0"/>
            </c:dLbl>
            <c:dLbl>
              <c:idx val="2"/>
              <c:tx>
                <c:rich>
                  <a:bodyPr/>
                  <a:lstStyle/>
                  <a:p>
                    <a:r>
                      <a:t>IX 100</a:t>
                    </a:r>
                  </a:p>
                  <a:p>
                    <a:r>
                      <a:t>710.3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C$2:$C$5</c:f>
              <c:numCache>
                <c:formatCode>General</c:formatCode>
                <c:ptCount val="4"/>
                <c:pt idx="0">
                  <c:v>1257.07</c:v>
                </c:pt>
                <c:pt idx="1">
                  <c:v>1129.8</c:v>
                </c:pt>
                <c:pt idx="2">
                  <c:v>710.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D$2:$D$5</c:f>
              <c:numCache>
                <c:formatCode>General</c:formatCode>
                <c:ptCount val="4"/>
                <c:pt idx="0">
                  <c:v>1712.77</c:v>
                </c:pt>
                <c:pt idx="1">
                  <c:v>1262.58</c:v>
                </c:pt>
                <c:pt idx="2">
                  <c:v>565.69</c:v>
                </c:pt>
                <c:pt idx="3">
                  <c:v>1396.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E$2:$E$5</c:f>
              <c:numCache>
                <c:formatCode>General</c:formatCode>
                <c:ptCount val="4"/>
                <c:pt idx="0">
                  <c:v>9051.43</c:v>
                </c:pt>
                <c:pt idx="3">
                  <c:v>9384.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clip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F$2:$F$5</c:f>
              <c:numCache>
                <c:formatCode>General</c:formatCode>
                <c:ptCount val="4"/>
                <c:pt idx="0">
                  <c:v>4215.67</c:v>
                </c:pt>
                <c:pt idx="3">
                  <c:v>3699.9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85.3571"/>
          <c:min val="565.18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B$2:$B$6</c:f>
              <c:numCache>
                <c:formatCode>General</c:formatCode>
                <c:ptCount val="5"/>
                <c:pt idx="0">
                  <c:v>12416.1</c:v>
                </c:pt>
                <c:pt idx="1">
                  <c:v>1182.47</c:v>
                </c:pt>
                <c:pt idx="2">
                  <c:v>10291.54</c:v>
                </c:pt>
                <c:pt idx="3">
                  <c:v>2254.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932.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2254.3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C$2:$C$6</c:f>
              <c:numCache>
                <c:formatCode>General</c:formatCode>
                <c:ptCount val="5"/>
                <c:pt idx="1">
                  <c:v>932.02</c:v>
                </c:pt>
                <c:pt idx="3">
                  <c:v>2254.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D$2:$D$6</c:f>
              <c:numCache>
                <c:formatCode>General</c:formatCode>
                <c:ptCount val="5"/>
                <c:pt idx="0">
                  <c:v>1241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E$2:$E$6</c:f>
              <c:numCache>
                <c:formatCode>General</c:formatCode>
                <c:ptCount val="5"/>
                <c:pt idx="2">
                  <c:v>10291.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416.6034"/>
          <c:min val="931.51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9</c:v>
                </c:pt>
                <c:pt idx="2">
                  <c:v/>
                </c:pt>
                <c:pt idx="3">
                  <c:v>IX 153</c:v>
                </c:pt>
                <c:pt idx="4">
                  <c:v/>
                </c:pt>
              </c:strCache>
            </c:strRef>
          </c:cat>
          <c:val>
            <c:numRef>
              <c:f>Sheet1!$B$2:$B$6</c:f>
              <c:numCache>
                <c:formatCode>General</c:formatCode>
                <c:ptCount val="5"/>
                <c:pt idx="0">
                  <c:v>717.41</c:v>
                </c:pt>
                <c:pt idx="1">
                  <c:v>1401.01</c:v>
                </c:pt>
                <c:pt idx="2">
                  <c:v>1723.57</c:v>
                </c:pt>
                <c:pt idx="3">
                  <c:v>1487.19</c:v>
                </c:pt>
                <c:pt idx="4">
                  <c:v>2001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45.9</a:t>
                    </a:r>
                  </a:p>
                </c:rich>
              </c:tx>
              <c:dLblPos val="l"/>
              <c:showLegendKey val="0"/>
              <c:showVal val="1"/>
              <c:showCatName val="0"/>
              <c:showSerName val="0"/>
              <c:showPercent val="0"/>
              <c:showBubbleSize val="0"/>
            </c:dLbl>
            <c:dLbl>
              <c:idx val="1"/>
              <c:tx>
                <c:rich>
                  <a:bodyPr/>
                  <a:lstStyle/>
                  <a:p>
                    <a:r>
                      <a:t>IX 59</a:t>
                    </a:r>
                  </a:p>
                  <a:p>
                    <a:r>
                      <a:t>763.2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53</a:t>
                    </a:r>
                  </a:p>
                  <a:p>
                    <a:r>
                      <a:t>2259.0</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9</c:v>
                </c:pt>
                <c:pt idx="2">
                  <c:v/>
                </c:pt>
                <c:pt idx="3">
                  <c:v>IX 153</c:v>
                </c:pt>
                <c:pt idx="4">
                  <c:v/>
                </c:pt>
              </c:strCache>
            </c:strRef>
          </c:cat>
          <c:val>
            <c:numRef>
              <c:f>Sheet1!$C$2:$C$6</c:f>
              <c:numCache>
                <c:formatCode>General</c:formatCode>
                <c:ptCount val="5"/>
                <c:pt idx="0">
                  <c:v>1045.9</c:v>
                </c:pt>
                <c:pt idx="1">
                  <c:v>763.21</c:v>
                </c:pt>
                <c:pt idx="3">
                  <c:v>2259.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oderm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9</c:v>
                </c:pt>
                <c:pt idx="2">
                  <c:v/>
                </c:pt>
                <c:pt idx="3">
                  <c:v>IX 153</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iersdorf</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9</c:v>
                </c:pt>
                <c:pt idx="2">
                  <c:v/>
                </c:pt>
                <c:pt idx="3">
                  <c:v>IX 153</c:v>
                </c:pt>
                <c:pt idx="4">
                  <c:v/>
                </c:pt>
              </c:strCache>
            </c:strRef>
          </c:cat>
          <c:val>
            <c:numRef>
              <c:f>Sheet1!$E$2:$E$6</c:f>
              <c:numCache>
                <c:formatCode>General</c:formatCode>
                <c:ptCount val="5"/>
                <c:pt idx="1">
                  <c:v>1301.0</c:v>
                </c:pt>
                <c:pt idx="2">
                  <c:v>1719.97</c:v>
                </c:pt>
                <c:pt idx="3">
                  <c:v>1473.2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9</c:v>
                </c:pt>
                <c:pt idx="2">
                  <c:v/>
                </c:pt>
                <c:pt idx="3">
                  <c:v>IX 153</c:v>
                </c:pt>
                <c:pt idx="4">
                  <c:v/>
                </c:pt>
              </c:strCache>
            </c:strRef>
          </c:cat>
          <c:val>
            <c:numRef>
              <c:f>Sheet1!$F$2:$F$6</c:f>
              <c:numCache>
                <c:formatCode>General</c:formatCode>
                <c:ptCount val="5"/>
                <c:pt idx="1">
                  <c:v>1881.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11.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IX 100</c:v>
                </c:pt>
                <c:pt idx="3">
                  <c:v/>
                </c:pt>
                <c:pt idx="4">
                  <c:v>IX 81</c:v>
                </c:pt>
              </c:strCache>
            </c:strRef>
          </c:cat>
          <c:val>
            <c:numRef>
              <c:f>Sheet1!$B$2:$B$6</c:f>
              <c:numCache>
                <c:formatCode>General</c:formatCode>
                <c:ptCount val="5"/>
                <c:pt idx="0">
                  <c:v>1439.95</c:v>
                </c:pt>
                <c:pt idx="1">
                  <c:v>1309.09</c:v>
                </c:pt>
                <c:pt idx="2">
                  <c:v>1364.75</c:v>
                </c:pt>
                <c:pt idx="3">
                  <c:v>1360.65</c:v>
                </c:pt>
                <c:pt idx="4">
                  <c:v>8795.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1102.47</a:t>
                    </a:r>
                  </a:p>
                </c:rich>
              </c:tx>
              <c:dLblPos val="l"/>
              <c:showLegendKey val="0"/>
              <c:showVal val="1"/>
              <c:showCatName val="0"/>
              <c:showSerName val="0"/>
              <c:showPercent val="0"/>
              <c:showBubbleSize val="0"/>
            </c:dLbl>
            <c:dLbl>
              <c:idx val="1"/>
              <c:tx>
                <c:rich>
                  <a:bodyPr/>
                  <a:lstStyle/>
                  <a:p>
                    <a:r>
                      <a:t>IX 90</a:t>
                    </a:r>
                  </a:p>
                  <a:p>
                    <a:r>
                      <a:t>1193.87</a:t>
                    </a:r>
                  </a:p>
                </c:rich>
              </c:tx>
              <c:dLblPos val="l"/>
              <c:showLegendKey val="0"/>
              <c:showVal val="1"/>
              <c:showCatName val="0"/>
              <c:showSerName val="0"/>
              <c:showPercent val="0"/>
              <c:showBubbleSize val="0"/>
            </c:dLbl>
            <c:dLbl>
              <c:idx val="2"/>
              <c:tx>
                <c:rich>
                  <a:bodyPr/>
                  <a:lstStyle/>
                  <a:p>
                    <a:r>
                      <a:t>IX 100</a:t>
                    </a:r>
                  </a:p>
                  <a:p>
                    <a:r>
                      <a:t>1313.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1</a:t>
                    </a:r>
                  </a:p>
                  <a:p>
                    <a:r>
                      <a:t>5512.0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IX 100</c:v>
                </c:pt>
                <c:pt idx="3">
                  <c:v/>
                </c:pt>
                <c:pt idx="4">
                  <c:v>IX 81</c:v>
                </c:pt>
              </c:strCache>
            </c:strRef>
          </c:cat>
          <c:val>
            <c:numRef>
              <c:f>Sheet1!$C$2:$C$6</c:f>
              <c:numCache>
                <c:formatCode>General</c:formatCode>
                <c:ptCount val="5"/>
                <c:pt idx="0">
                  <c:v>1102.47</c:v>
                </c:pt>
                <c:pt idx="1">
                  <c:v>1193.87</c:v>
                </c:pt>
                <c:pt idx="2">
                  <c:v>1313.9</c:v>
                </c:pt>
                <c:pt idx="4">
                  <c:v>5512.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IX 100</c:v>
                </c:pt>
                <c:pt idx="3">
                  <c:v/>
                </c:pt>
                <c:pt idx="4">
                  <c:v>IX 81</c:v>
                </c:pt>
              </c:strCache>
            </c:strRef>
          </c:cat>
          <c:val>
            <c:numRef>
              <c:f>Sheet1!$D$2:$D$6</c:f>
              <c:numCache>
                <c:formatCode>General</c:formatCode>
                <c:ptCount val="5"/>
                <c:pt idx="0">
                  <c:v>2144.1</c:v>
                </c:pt>
                <c:pt idx="1">
                  <c:v>1323.16</c:v>
                </c:pt>
                <c:pt idx="2">
                  <c:v>1427.44</c:v>
                </c:pt>
                <c:pt idx="3">
                  <c:v>1308.6</c:v>
                </c:pt>
                <c:pt idx="4">
                  <c:v>6768.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IX 100</c:v>
                </c:pt>
                <c:pt idx="3">
                  <c:v/>
                </c:pt>
                <c:pt idx="4">
                  <c:v>IX 81</c:v>
                </c:pt>
              </c:strCache>
            </c:strRef>
          </c:cat>
          <c:val>
            <c:numRef>
              <c:f>Sheet1!$E$2:$E$6</c:f>
              <c:numCache>
                <c:formatCode>General</c:formatCode>
                <c:ptCount val="5"/>
                <c:pt idx="0">
                  <c:v>5363.2</c:v>
                </c:pt>
                <c:pt idx="1">
                  <c:v>6377.03</c:v>
                </c:pt>
                <c:pt idx="3">
                  <c:v>92696.5</c:v>
                </c:pt>
                <c:pt idx="4">
                  <c:v>33392.6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IX 100</c:v>
                </c:pt>
                <c:pt idx="3">
                  <c:v/>
                </c:pt>
                <c:pt idx="4">
                  <c:v>IX 81</c:v>
                </c:pt>
              </c:strCache>
            </c:strRef>
          </c:cat>
          <c:val>
            <c:numRef>
              <c:f>Sheet1!$F$2:$F$6</c:f>
              <c:numCache>
                <c:formatCode>General</c:formatCode>
                <c:ptCount val="5"/>
                <c:pt idx="0">
                  <c:v>17123.49</c:v>
                </c:pt>
                <c:pt idx="2">
                  <c:v>8058.14</c:v>
                </c:pt>
                <c:pt idx="3">
                  <c:v>2467.98</c:v>
                </c:pt>
                <c:pt idx="4">
                  <c:v>108930.2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930.7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IX 0</c:v>
                </c:pt>
              </c:strCache>
            </c:strRef>
          </c:cat>
          <c:val>
            <c:numRef>
              <c:f>Sheet1!$B$2:$B$5</c:f>
              <c:numCache>
                <c:formatCode>General</c:formatCode>
                <c:ptCount val="4"/>
                <c:pt idx="0">
                  <c:v>125259.0</c:v>
                </c:pt>
                <c:pt idx="1">
                  <c:v>1014.47</c:v>
                </c:pt>
                <c:pt idx="2">
                  <c:v>1499.1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0</a:t>
                    </a:r>
                  </a:p>
                  <a:p>
                    <a:r>
                      <a:t>None</a:t>
                    </a:r>
                  </a:p>
                </c:rich>
              </c:tx>
              <c:dLblPos val="l"/>
              <c:showLegendKey val="0"/>
              <c:showVal val="1"/>
              <c:showCatName val="0"/>
              <c:showSerName val="0"/>
              <c:showPercent val="0"/>
              <c:showBubbleSize val="0"/>
            </c:dLbl>
            <c:dLbl>
              <c:idx val="2"/>
              <c:tx>
                <c:rich>
                  <a:bodyPr/>
                  <a:lstStyle/>
                  <a:p>
                    <a:r>
                      <a:t>IX 100</a:t>
                    </a:r>
                  </a:p>
                  <a:p>
                    <a:r>
                      <a:t>1160.36</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IX 0</c:v>
                </c:pt>
              </c:strCache>
            </c:strRef>
          </c:cat>
          <c:val>
            <c:numRef>
              <c:f>Sheet1!$C$2:$C$5</c:f>
              <c:numCache>
                <c:formatCode>General</c:formatCode>
                <c:ptCount val="4"/>
                <c:pt idx="2">
                  <c:v>1160.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IX 0</c:v>
                </c:pt>
              </c:strCache>
            </c:strRef>
          </c:cat>
          <c:val>
            <c:numRef>
              <c:f>Sheet1!$D$2:$D$5</c:f>
              <c:numCache>
                <c:formatCode>General</c:formatCode>
                <c:ptCount val="4"/>
                <c:pt idx="0">
                  <c:v>125259.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IX 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IX 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5259.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45</c:v>
                </c:pt>
                <c:pt idx="3">
                  <c:v>IX 212</c:v>
                </c:pt>
              </c:strCache>
            </c:strRef>
          </c:cat>
          <c:val>
            <c:numRef>
              <c:f>Sheet1!$B$2:$B$5</c:f>
              <c:numCache>
                <c:formatCode>General</c:formatCode>
                <c:ptCount val="4"/>
                <c:pt idx="0">
                  <c:v>706.38</c:v>
                </c:pt>
                <c:pt idx="1">
                  <c:v>1565.17</c:v>
                </c:pt>
                <c:pt idx="2">
                  <c:v>1215.41</c:v>
                </c:pt>
                <c:pt idx="3">
                  <c:v>1454.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90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45</a:t>
                    </a:r>
                  </a:p>
                  <a:p>
                    <a:r>
                      <a:t>547.92</a:t>
                    </a:r>
                  </a:p>
                </c:rich>
              </c:tx>
              <c:dLblPos val="l"/>
              <c:showLegendKey val="0"/>
              <c:showVal val="1"/>
              <c:showCatName val="0"/>
              <c:showSerName val="0"/>
              <c:showPercent val="0"/>
              <c:showBubbleSize val="0"/>
            </c:dLbl>
            <c:dLbl>
              <c:idx val="3"/>
              <c:tx>
                <c:rich>
                  <a:bodyPr/>
                  <a:lstStyle/>
                  <a:p>
                    <a:r>
                      <a:t>IX 212</a:t>
                    </a:r>
                  </a:p>
                  <a:p>
                    <a:r>
                      <a:t>3057.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45</c:v>
                </c:pt>
                <c:pt idx="3">
                  <c:v>IX 212</c:v>
                </c:pt>
              </c:strCache>
            </c:strRef>
          </c:cat>
          <c:val>
            <c:numRef>
              <c:f>Sheet1!$C$2:$C$5</c:f>
              <c:numCache>
                <c:formatCode>General</c:formatCode>
                <c:ptCount val="4"/>
                <c:pt idx="0">
                  <c:v>907.8</c:v>
                </c:pt>
                <c:pt idx="2">
                  <c:v>547.92</c:v>
                </c:pt>
                <c:pt idx="3">
                  <c:v>3057.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45</c:v>
                </c:pt>
                <c:pt idx="3">
                  <c:v>IX 212</c:v>
                </c:pt>
              </c:strCache>
            </c:strRef>
          </c:cat>
          <c:val>
            <c:numRef>
              <c:f>Sheet1!$D$2:$D$5</c:f>
              <c:numCache>
                <c:formatCode>General</c:formatCode>
                <c:ptCount val="4"/>
                <c:pt idx="1">
                  <c:v>1565.17</c:v>
                </c:pt>
                <c:pt idx="2">
                  <c:v>1220.34</c:v>
                </c:pt>
                <c:pt idx="3">
                  <c:v>1443.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ustralian Gold</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45</c:v>
                </c:pt>
                <c:pt idx="3">
                  <c:v>IX 212</c:v>
                </c:pt>
              </c:strCache>
            </c:strRef>
          </c:cat>
          <c:val>
            <c:numRef>
              <c:f>Sheet1!$E$2:$E$5</c:f>
              <c:numCache>
                <c:formatCode>General</c:formatCode>
                <c:ptCount val="4"/>
                <c:pt idx="2">
                  <c:v>1479.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45</c:v>
                </c:pt>
                <c:pt idx="3">
                  <c:v>IX 212</c:v>
                </c:pt>
              </c:strCache>
            </c:strRef>
          </c:cat>
          <c:val>
            <c:numRef>
              <c:f>Sheet1!$F$2:$F$5</c:f>
              <c:numCache>
                <c:formatCode>General</c:formatCode>
                <c:ptCount val="4"/>
                <c:pt idx="2">
                  <c:v>1933.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7.5"/>
          <c:min val="547.41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IX 100</c:v>
                </c:pt>
                <c:pt idx="4">
                  <c:v>IX 69</c:v>
                </c:pt>
              </c:strCache>
            </c:strRef>
          </c:cat>
          <c:val>
            <c:numRef>
              <c:f>Sheet1!$B$2:$B$6</c:f>
              <c:numCache>
                <c:formatCode>General</c:formatCode>
                <c:ptCount val="5"/>
                <c:pt idx="0">
                  <c:v>1659.42</c:v>
                </c:pt>
                <c:pt idx="1">
                  <c:v>1363.12</c:v>
                </c:pt>
                <c:pt idx="2">
                  <c:v>1729.46</c:v>
                </c:pt>
                <c:pt idx="3">
                  <c:v>1388.07</c:v>
                </c:pt>
                <c:pt idx="4">
                  <c:v>11592.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108.39</a:t>
                    </a:r>
                  </a:p>
                </c:rich>
              </c:tx>
              <c:dLblPos val="l"/>
              <c:showLegendKey val="0"/>
              <c:showVal val="1"/>
              <c:showCatName val="0"/>
              <c:showSerName val="0"/>
              <c:showPercent val="0"/>
              <c:showBubbleSize val="0"/>
            </c:dLbl>
            <c:dLbl>
              <c:idx val="1"/>
              <c:tx>
                <c:rich>
                  <a:bodyPr/>
                  <a:lstStyle/>
                  <a:p>
                    <a:r>
                      <a:t>IX 100</a:t>
                    </a:r>
                  </a:p>
                  <a:p>
                    <a:r>
                      <a:t>1234.8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279.23</a:t>
                    </a:r>
                  </a:p>
                </c:rich>
              </c:tx>
              <c:dLblPos val="l"/>
              <c:showLegendKey val="0"/>
              <c:showVal val="1"/>
              <c:showCatName val="0"/>
              <c:showSerName val="0"/>
              <c:showPercent val="0"/>
              <c:showBubbleSize val="0"/>
            </c:dLbl>
            <c:dLbl>
              <c:idx val="4"/>
              <c:tx>
                <c:rich>
                  <a:bodyPr/>
                  <a:lstStyle/>
                  <a:p>
                    <a:r>
                      <a:t>IX 69</a:t>
                    </a:r>
                  </a:p>
                  <a:p>
                    <a:r>
                      <a:t>5096.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IX 100</c:v>
                </c:pt>
                <c:pt idx="4">
                  <c:v>IX 69</c:v>
                </c:pt>
              </c:strCache>
            </c:strRef>
          </c:cat>
          <c:val>
            <c:numRef>
              <c:f>Sheet1!$C$2:$C$6</c:f>
              <c:numCache>
                <c:formatCode>General</c:formatCode>
                <c:ptCount val="5"/>
                <c:pt idx="0">
                  <c:v>1108.39</c:v>
                </c:pt>
                <c:pt idx="1">
                  <c:v>1234.82</c:v>
                </c:pt>
                <c:pt idx="3">
                  <c:v>1279.23</c:v>
                </c:pt>
                <c:pt idx="4">
                  <c:v>5096.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IX 100</c:v>
                </c:pt>
                <c:pt idx="4">
                  <c:v>IX 69</c:v>
                </c:pt>
              </c:strCache>
            </c:strRef>
          </c:cat>
          <c:val>
            <c:numRef>
              <c:f>Sheet1!$D$2:$D$6</c:f>
              <c:numCache>
                <c:formatCode>General</c:formatCode>
                <c:ptCount val="5"/>
                <c:pt idx="0">
                  <c:v>2399.18</c:v>
                </c:pt>
                <c:pt idx="1">
                  <c:v>1347.57</c:v>
                </c:pt>
                <c:pt idx="2">
                  <c:v>1486.74</c:v>
                </c:pt>
                <c:pt idx="3">
                  <c:v>1406.84</c:v>
                </c:pt>
                <c:pt idx="4">
                  <c:v>7370.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IX 100</c:v>
                </c:pt>
                <c:pt idx="4">
                  <c:v>IX 69</c:v>
                </c:pt>
              </c:strCache>
            </c:strRef>
          </c:cat>
          <c:val>
            <c:numRef>
              <c:f>Sheet1!$E$2:$E$6</c:f>
              <c:numCache>
                <c:formatCode>General</c:formatCode>
                <c:ptCount val="5"/>
                <c:pt idx="0">
                  <c:v>13166.92</c:v>
                </c:pt>
                <c:pt idx="1">
                  <c:v>23067.92</c:v>
                </c:pt>
                <c:pt idx="2">
                  <c:v>2459.06</c:v>
                </c:pt>
                <c:pt idx="3">
                  <c:v>6022.83</c:v>
                </c:pt>
                <c:pt idx="4">
                  <c:v>14874.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IX 100</c:v>
                </c:pt>
                <c:pt idx="4">
                  <c:v>IX 69</c:v>
                </c:pt>
              </c:strCache>
            </c:strRef>
          </c:cat>
          <c:val>
            <c:numRef>
              <c:f>Sheet1!$F$2:$F$6</c:f>
              <c:numCache>
                <c:formatCode>General</c:formatCode>
                <c:ptCount val="5"/>
                <c:pt idx="0">
                  <c:v>6060.97</c:v>
                </c:pt>
                <c:pt idx="1">
                  <c:v>6282.72</c:v>
                </c:pt>
                <c:pt idx="2">
                  <c:v>11707.56</c:v>
                </c:pt>
                <c:pt idx="3">
                  <c:v>8326.0</c:v>
                </c:pt>
                <c:pt idx="4">
                  <c:v>12514.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068.4167"/>
          <c:min val="1107.89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B$2:$B$5</c:f>
              <c:numCache>
                <c:formatCode>General</c:formatCode>
                <c:ptCount val="4"/>
                <c:pt idx="0">
                  <c:v>14350.96</c:v>
                </c:pt>
                <c:pt idx="1">
                  <c:v>1026.59</c:v>
                </c:pt>
                <c:pt idx="2">
                  <c:v>20706.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727.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C$2:$C$5</c:f>
              <c:numCache>
                <c:formatCode>General</c:formatCode>
                <c:ptCount val="4"/>
                <c:pt idx="1">
                  <c:v>727.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D$2:$D$5</c:f>
              <c:numCache>
                <c:formatCode>General</c:formatCode>
                <c:ptCount val="4"/>
                <c:pt idx="0">
                  <c:v>14350.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E$2:$E$5</c:f>
              <c:numCache>
                <c:formatCode>General</c:formatCode>
                <c:ptCount val="4"/>
                <c:pt idx="2">
                  <c:v>20706.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7</c:v>
                </c:pt>
                <c:pt idx="2">
                  <c:v/>
                </c:pt>
                <c:pt idx="3">
                  <c:v>IX 153</c:v>
                </c:pt>
                <c:pt idx="4">
                  <c:v/>
                </c:pt>
              </c:strCache>
            </c:strRef>
          </c:cat>
          <c:val>
            <c:numRef>
              <c:f>Sheet1!$B$2:$B$6</c:f>
              <c:numCache>
                <c:formatCode>General</c:formatCode>
                <c:ptCount val="5"/>
                <c:pt idx="0">
                  <c:v>682.45</c:v>
                </c:pt>
                <c:pt idx="1">
                  <c:v>1303.13</c:v>
                </c:pt>
                <c:pt idx="2">
                  <c:v>1696.94</c:v>
                </c:pt>
                <c:pt idx="3">
                  <c:v>1433.52</c:v>
                </c:pt>
                <c:pt idx="4">
                  <c:v>65802.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70.52</a:t>
                    </a:r>
                  </a:p>
                </c:rich>
              </c:tx>
              <c:dLblPos val="l"/>
              <c:showLegendKey val="0"/>
              <c:showVal val="1"/>
              <c:showCatName val="0"/>
              <c:showSerName val="0"/>
              <c:showPercent val="0"/>
              <c:showBubbleSize val="0"/>
            </c:dLbl>
            <c:dLbl>
              <c:idx val="1"/>
              <c:tx>
                <c:rich>
                  <a:bodyPr/>
                  <a:lstStyle/>
                  <a:p>
                    <a:r>
                      <a:t>IX 47</a:t>
                    </a:r>
                  </a:p>
                  <a:p>
                    <a:r>
                      <a:t>602.3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53</a:t>
                    </a:r>
                  </a:p>
                  <a:p>
                    <a:r>
                      <a:t>2177.3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7</c:v>
                </c:pt>
                <c:pt idx="2">
                  <c:v/>
                </c:pt>
                <c:pt idx="3">
                  <c:v>IX 153</c:v>
                </c:pt>
                <c:pt idx="4">
                  <c:v/>
                </c:pt>
              </c:strCache>
            </c:strRef>
          </c:cat>
          <c:val>
            <c:numRef>
              <c:f>Sheet1!$C$2:$C$6</c:f>
              <c:numCache>
                <c:formatCode>General</c:formatCode>
                <c:ptCount val="5"/>
                <c:pt idx="0">
                  <c:v>1070.52</c:v>
                </c:pt>
                <c:pt idx="1">
                  <c:v>602.37</c:v>
                </c:pt>
                <c:pt idx="3">
                  <c:v>2177.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oderm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7</c:v>
                </c:pt>
                <c:pt idx="2">
                  <c:v/>
                </c:pt>
                <c:pt idx="3">
                  <c:v>IX 153</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iersdorf</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7</c:v>
                </c:pt>
                <c:pt idx="2">
                  <c:v/>
                </c:pt>
                <c:pt idx="3">
                  <c:v>IX 153</c:v>
                </c:pt>
                <c:pt idx="4">
                  <c:v/>
                </c:pt>
              </c:strCache>
            </c:strRef>
          </c:cat>
          <c:val>
            <c:numRef>
              <c:f>Sheet1!$E$2:$E$6</c:f>
              <c:numCache>
                <c:formatCode>General</c:formatCode>
                <c:ptCount val="5"/>
                <c:pt idx="1">
                  <c:v>1283.31</c:v>
                </c:pt>
                <c:pt idx="2">
                  <c:v>1695.94</c:v>
                </c:pt>
                <c:pt idx="3">
                  <c:v>1424.9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47</c:v>
                </c:pt>
                <c:pt idx="2">
                  <c:v/>
                </c:pt>
                <c:pt idx="3">
                  <c:v>IX 153</c:v>
                </c:pt>
                <c:pt idx="4">
                  <c:v/>
                </c:pt>
              </c:strCache>
            </c:strRef>
          </c:cat>
          <c:val>
            <c:numRef>
              <c:f>Sheet1!$F$2:$F$6</c:f>
              <c:numCache>
                <c:formatCode>General</c:formatCode>
                <c:ptCount val="5"/>
                <c:pt idx="1">
                  <c:v>2384.0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802.5"/>
          <c:min val="601.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52</c:v>
                </c:pt>
              </c:strCache>
            </c:strRef>
          </c:cat>
          <c:val>
            <c:numRef>
              <c:f>Sheet1!$B$2:$B$6</c:f>
              <c:numCache>
                <c:formatCode>General</c:formatCode>
                <c:ptCount val="5"/>
                <c:pt idx="0">
                  <c:v>1665.7</c:v>
                </c:pt>
                <c:pt idx="1">
                  <c:v>1379.46</c:v>
                </c:pt>
                <c:pt idx="2">
                  <c:v>1479.37</c:v>
                </c:pt>
                <c:pt idx="3">
                  <c:v>1874.5</c:v>
                </c:pt>
                <c:pt idx="4">
                  <c:v>11640.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127.3</a:t>
                    </a:r>
                  </a:p>
                </c:rich>
              </c:tx>
              <c:dLblPos val="l"/>
              <c:showLegendKey val="0"/>
              <c:showVal val="1"/>
              <c:showCatName val="0"/>
              <c:showSerName val="0"/>
              <c:showPercent val="0"/>
              <c:showBubbleSize val="0"/>
            </c:dLbl>
            <c:dLbl>
              <c:idx val="1"/>
              <c:tx>
                <c:rich>
                  <a:bodyPr/>
                  <a:lstStyle/>
                  <a:p>
                    <a:r>
                      <a:t>IX 100</a:t>
                    </a:r>
                  </a:p>
                  <a:p>
                    <a:r>
                      <a:t>1264.62</a:t>
                    </a:r>
                  </a:p>
                </c:rich>
              </c:tx>
              <c:dLblPos val="l"/>
              <c:showLegendKey val="0"/>
              <c:showVal val="1"/>
              <c:showCatName val="0"/>
              <c:showSerName val="0"/>
              <c:showPercent val="0"/>
              <c:showBubbleSize val="0"/>
            </c:dLbl>
            <c:dLbl>
              <c:idx val="2"/>
              <c:tx>
                <c:rich>
                  <a:bodyPr/>
                  <a:lstStyle/>
                  <a:p>
                    <a:r>
                      <a:t>IX 100</a:t>
                    </a:r>
                  </a:p>
                  <a:p>
                    <a:r>
                      <a:t>1437.9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52</a:t>
                    </a:r>
                  </a:p>
                  <a:p>
                    <a:r>
                      <a:t>6429.0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52</c:v>
                </c:pt>
              </c:strCache>
            </c:strRef>
          </c:cat>
          <c:val>
            <c:numRef>
              <c:f>Sheet1!$C$2:$C$6</c:f>
              <c:numCache>
                <c:formatCode>General</c:formatCode>
                <c:ptCount val="5"/>
                <c:pt idx="0">
                  <c:v>1127.3</c:v>
                </c:pt>
                <c:pt idx="1">
                  <c:v>1264.62</c:v>
                </c:pt>
                <c:pt idx="2">
                  <c:v>1437.91</c:v>
                </c:pt>
                <c:pt idx="4">
                  <c:v>6429.0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52</c:v>
                </c:pt>
              </c:strCache>
            </c:strRef>
          </c:cat>
          <c:val>
            <c:numRef>
              <c:f>Sheet1!$D$2:$D$6</c:f>
              <c:numCache>
                <c:formatCode>General</c:formatCode>
                <c:ptCount val="5"/>
                <c:pt idx="0">
                  <c:v>2451.58</c:v>
                </c:pt>
                <c:pt idx="1">
                  <c:v>1363.06</c:v>
                </c:pt>
                <c:pt idx="2">
                  <c:v>1467.24</c:v>
                </c:pt>
                <c:pt idx="3">
                  <c:v>1552.15</c:v>
                </c:pt>
                <c:pt idx="4">
                  <c:v>716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52</c:v>
                </c:pt>
              </c:strCache>
            </c:strRef>
          </c:cat>
          <c:val>
            <c:numRef>
              <c:f>Sheet1!$E$2:$E$6</c:f>
              <c:numCache>
                <c:formatCode>General</c:formatCode>
                <c:ptCount val="5"/>
                <c:pt idx="0">
                  <c:v>13231.08</c:v>
                </c:pt>
                <c:pt idx="1">
                  <c:v>181377.0</c:v>
                </c:pt>
                <c:pt idx="2">
                  <c:v>5878.1</c:v>
                </c:pt>
                <c:pt idx="3">
                  <c:v>2498.42</c:v>
                </c:pt>
                <c:pt idx="4">
                  <c:v>15315.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IX 100</c:v>
                </c:pt>
                <c:pt idx="3">
                  <c:v/>
                </c:pt>
                <c:pt idx="4">
                  <c:v>IX 52</c:v>
                </c:pt>
              </c:strCache>
            </c:strRef>
          </c:cat>
          <c:val>
            <c:numRef>
              <c:f>Sheet1!$F$2:$F$6</c:f>
              <c:numCache>
                <c:formatCode>General</c:formatCode>
                <c:ptCount val="5"/>
                <c:pt idx="0">
                  <c:v>6428.96</c:v>
                </c:pt>
                <c:pt idx="1">
                  <c:v>6525.43</c:v>
                </c:pt>
                <c:pt idx="2">
                  <c:v>4637.9</c:v>
                </c:pt>
                <c:pt idx="3">
                  <c:v>10967.0</c:v>
                </c:pt>
                <c:pt idx="4">
                  <c:v>12338.5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377.5"/>
          <c:min val="1126.80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0</c:v>
                </c:pt>
              </c:strCache>
            </c:strRef>
          </c:cat>
          <c:val>
            <c:numRef>
              <c:f>Sheet1!$B$2:$B$5</c:f>
              <c:numCache>
                <c:formatCode>General</c:formatCode>
                <c:ptCount val="4"/>
                <c:pt idx="0">
                  <c:v>16739.15</c:v>
                </c:pt>
                <c:pt idx="1">
                  <c:v>1022.09</c:v>
                </c:pt>
                <c:pt idx="2">
                  <c:v>1535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818.18</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0</c:v>
                </c:pt>
              </c:strCache>
            </c:strRef>
          </c:cat>
          <c:val>
            <c:numRef>
              <c:f>Sheet1!$C$2:$C$5</c:f>
              <c:numCache>
                <c:formatCode>General</c:formatCode>
                <c:ptCount val="4"/>
                <c:pt idx="1">
                  <c:v>818.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0</c:v>
                </c:pt>
              </c:strCache>
            </c:strRef>
          </c:cat>
          <c:val>
            <c:numRef>
              <c:f>Sheet1!$D$2:$D$5</c:f>
              <c:numCache>
                <c:formatCode>General</c:formatCode>
                <c:ptCount val="4"/>
                <c:pt idx="0">
                  <c:v>16739.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0</c:v>
                </c:pt>
              </c:strCache>
            </c:strRef>
          </c:cat>
          <c:val>
            <c:numRef>
              <c:f>Sheet1!$E$2:$E$5</c:f>
              <c:numCache>
                <c:formatCode>General</c:formatCode>
                <c:ptCount val="4"/>
                <c:pt idx="2">
                  <c:v>15252.6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739.6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72</c:v>
                </c:pt>
                <c:pt idx="2">
                  <c:v>IX 100</c:v>
                </c:pt>
                <c:pt idx="3">
                  <c:v>IX 37</c:v>
                </c:pt>
              </c:strCache>
            </c:strRef>
          </c:cat>
          <c:val>
            <c:numRef>
              <c:f>Sheet1!$B$2:$B$5</c:f>
              <c:numCache>
                <c:formatCode>General</c:formatCode>
                <c:ptCount val="4"/>
                <c:pt idx="0">
                  <c:v>1573.0</c:v>
                </c:pt>
                <c:pt idx="1">
                  <c:v>1142.43</c:v>
                </c:pt>
                <c:pt idx="2">
                  <c:v>580.67</c:v>
                </c:pt>
                <c:pt idx="3">
                  <c:v>3912.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304.02</a:t>
                    </a:r>
                  </a:p>
                </c:rich>
              </c:tx>
              <c:dLblPos val="l"/>
              <c:showLegendKey val="0"/>
              <c:showVal val="1"/>
              <c:showCatName val="0"/>
              <c:showSerName val="0"/>
              <c:showPercent val="0"/>
              <c:showBubbleSize val="0"/>
            </c:dLbl>
            <c:dLbl>
              <c:idx val="1"/>
              <c:tx>
                <c:rich>
                  <a:bodyPr/>
                  <a:lstStyle/>
                  <a:p>
                    <a:r>
                      <a:t>IX 72</a:t>
                    </a:r>
                  </a:p>
                  <a:p>
                    <a:r>
                      <a:t>905.03</a:t>
                    </a:r>
                  </a:p>
                </c:rich>
              </c:tx>
              <c:dLblPos val="l"/>
              <c:showLegendKey val="0"/>
              <c:showVal val="1"/>
              <c:showCatName val="0"/>
              <c:showSerName val="0"/>
              <c:showPercent val="0"/>
              <c:showBubbleSize val="0"/>
            </c:dLbl>
            <c:dLbl>
              <c:idx val="2"/>
              <c:tx>
                <c:rich>
                  <a:bodyPr/>
                  <a:lstStyle/>
                  <a:p>
                    <a:r>
                      <a:t>IX 100</a:t>
                    </a:r>
                  </a:p>
                  <a:p>
                    <a:r>
                      <a:t>432.37</a:t>
                    </a:r>
                  </a:p>
                </c:rich>
              </c:tx>
              <c:dLblPos val="l"/>
              <c:showLegendKey val="0"/>
              <c:showVal val="1"/>
              <c:showCatName val="0"/>
              <c:showSerName val="0"/>
              <c:showPercent val="0"/>
              <c:showBubbleSize val="0"/>
            </c:dLbl>
            <c:dLbl>
              <c:idx val="3"/>
              <c:tx>
                <c:rich>
                  <a:bodyPr/>
                  <a:lstStyle/>
                  <a:p>
                    <a:r>
                      <a:t>IX 37</a:t>
                    </a:r>
                  </a:p>
                  <a:p>
                    <a:r>
                      <a:t>1382.5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72</c:v>
                </c:pt>
                <c:pt idx="2">
                  <c:v>IX 100</c:v>
                </c:pt>
                <c:pt idx="3">
                  <c:v>IX 37</c:v>
                </c:pt>
              </c:strCache>
            </c:strRef>
          </c:cat>
          <c:val>
            <c:numRef>
              <c:f>Sheet1!$C$2:$C$5</c:f>
              <c:numCache>
                <c:formatCode>General</c:formatCode>
                <c:ptCount val="4"/>
                <c:pt idx="0">
                  <c:v>1304.02</c:v>
                </c:pt>
                <c:pt idx="1">
                  <c:v>905.03</c:v>
                </c:pt>
                <c:pt idx="2">
                  <c:v>432.37</c:v>
                </c:pt>
                <c:pt idx="3">
                  <c:v>1382.5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72</c:v>
                </c:pt>
                <c:pt idx="2">
                  <c:v>IX 100</c:v>
                </c:pt>
                <c:pt idx="3">
                  <c:v>IX 37</c:v>
                </c:pt>
              </c:strCache>
            </c:strRef>
          </c:cat>
          <c:val>
            <c:numRef>
              <c:f>Sheet1!$D$2:$D$5</c:f>
              <c:numCache>
                <c:formatCode>General</c:formatCode>
                <c:ptCount val="4"/>
                <c:pt idx="0">
                  <c:v>1712.77</c:v>
                </c:pt>
                <c:pt idx="1">
                  <c:v>1262.58</c:v>
                </c:pt>
                <c:pt idx="2">
                  <c:v>565.69</c:v>
                </c:pt>
                <c:pt idx="3">
                  <c:v>1396.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72</c:v>
                </c:pt>
                <c:pt idx="2">
                  <c:v>IX 100</c:v>
                </c:pt>
                <c:pt idx="3">
                  <c:v>IX 37</c:v>
                </c:pt>
              </c:strCache>
            </c:strRef>
          </c:cat>
          <c:val>
            <c:numRef>
              <c:f>Sheet1!$E$2:$E$5</c:f>
              <c:numCache>
                <c:formatCode>General</c:formatCode>
                <c:ptCount val="4"/>
                <c:pt idx="0">
                  <c:v>9051.43</c:v>
                </c:pt>
                <c:pt idx="3">
                  <c:v>9384.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clip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72</c:v>
                </c:pt>
                <c:pt idx="2">
                  <c:v>IX 100</c:v>
                </c:pt>
                <c:pt idx="3">
                  <c:v>IX 37</c:v>
                </c:pt>
              </c:strCache>
            </c:strRef>
          </c:cat>
          <c:val>
            <c:numRef>
              <c:f>Sheet1!$F$2:$F$5</c:f>
              <c:numCache>
                <c:formatCode>General</c:formatCode>
                <c:ptCount val="4"/>
                <c:pt idx="0">
                  <c:v>4215.67</c:v>
                </c:pt>
                <c:pt idx="3">
                  <c:v>3699.9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85.3571"/>
          <c:min val="431.87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0</c:v>
                </c:pt>
                <c:pt idx="2">
                  <c:v/>
                </c:pt>
                <c:pt idx="3">
                  <c:v>IX 115</c:v>
                </c:pt>
                <c:pt idx="4">
                  <c:v/>
                </c:pt>
              </c:strCache>
            </c:strRef>
          </c:cat>
          <c:val>
            <c:numRef>
              <c:f>Sheet1!$B$2:$B$6</c:f>
              <c:numCache>
                <c:formatCode>General</c:formatCode>
                <c:ptCount val="5"/>
                <c:pt idx="0">
                  <c:v>699.1</c:v>
                </c:pt>
                <c:pt idx="1">
                  <c:v>1369.9</c:v>
                </c:pt>
                <c:pt idx="2">
                  <c:v>1774.97</c:v>
                </c:pt>
                <c:pt idx="3">
                  <c:v>1471.63</c:v>
                </c:pt>
                <c:pt idx="4">
                  <c:v>7491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26.73</a:t>
                    </a:r>
                  </a:p>
                </c:rich>
              </c:tx>
              <c:dLblPos val="l"/>
              <c:showLegendKey val="0"/>
              <c:showVal val="1"/>
              <c:showCatName val="0"/>
              <c:showSerName val="0"/>
              <c:showPercent val="0"/>
              <c:showBubbleSize val="0"/>
            </c:dLbl>
            <c:dLbl>
              <c:idx val="1"/>
              <c:tx>
                <c:rich>
                  <a:bodyPr/>
                  <a:lstStyle/>
                  <a:p>
                    <a:r>
                      <a:t>IX 50</a:t>
                    </a:r>
                  </a:p>
                  <a:p>
                    <a:r>
                      <a:t>665.1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15</a:t>
                    </a:r>
                  </a:p>
                  <a:p>
                    <a:r>
                      <a:t>1685.5</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0</c:v>
                </c:pt>
                <c:pt idx="2">
                  <c:v/>
                </c:pt>
                <c:pt idx="3">
                  <c:v>IX 115</c:v>
                </c:pt>
                <c:pt idx="4">
                  <c:v/>
                </c:pt>
              </c:strCache>
            </c:strRef>
          </c:cat>
          <c:val>
            <c:numRef>
              <c:f>Sheet1!$C$2:$C$6</c:f>
              <c:numCache>
                <c:formatCode>General</c:formatCode>
                <c:ptCount val="5"/>
                <c:pt idx="0">
                  <c:v>1226.73</c:v>
                </c:pt>
                <c:pt idx="1">
                  <c:v>665.12</c:v>
                </c:pt>
                <c:pt idx="3">
                  <c:v>168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oderm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0</c:v>
                </c:pt>
                <c:pt idx="2">
                  <c:v/>
                </c:pt>
                <c:pt idx="3">
                  <c:v>IX 115</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iersdorf</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0</c:v>
                </c:pt>
                <c:pt idx="2">
                  <c:v/>
                </c:pt>
                <c:pt idx="3">
                  <c:v>IX 115</c:v>
                </c:pt>
                <c:pt idx="4">
                  <c:v/>
                </c:pt>
              </c:strCache>
            </c:strRef>
          </c:cat>
          <c:val>
            <c:numRef>
              <c:f>Sheet1!$E$2:$E$6</c:f>
              <c:numCache>
                <c:formatCode>General</c:formatCode>
                <c:ptCount val="5"/>
                <c:pt idx="1">
                  <c:v>1318.95</c:v>
                </c:pt>
                <c:pt idx="2">
                  <c:v>1769.7</c:v>
                </c:pt>
                <c:pt idx="3">
                  <c:v>1470.2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0</c:v>
                </c:pt>
                <c:pt idx="2">
                  <c:v/>
                </c:pt>
                <c:pt idx="3">
                  <c:v>IX 115</c:v>
                </c:pt>
                <c:pt idx="4">
                  <c:v/>
                </c:pt>
              </c:strCache>
            </c:strRef>
          </c:cat>
          <c:val>
            <c:numRef>
              <c:f>Sheet1!$F$2:$F$6</c:f>
              <c:numCache>
                <c:formatCode>General</c:formatCode>
                <c:ptCount val="5"/>
                <c:pt idx="1">
                  <c:v>2521.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911.5"/>
          <c:min val="664.61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95</c:v>
                </c:pt>
                <c:pt idx="2">
                  <c:v>IX 100</c:v>
                </c:pt>
                <c:pt idx="3">
                  <c:v/>
                </c:pt>
                <c:pt idx="4">
                  <c:v>IX 91</c:v>
                </c:pt>
              </c:strCache>
            </c:strRef>
          </c:cat>
          <c:val>
            <c:numRef>
              <c:f>Sheet1!$B$2:$B$6</c:f>
              <c:numCache>
                <c:formatCode>General</c:formatCode>
                <c:ptCount val="5"/>
                <c:pt idx="0">
                  <c:v>1678.13</c:v>
                </c:pt>
                <c:pt idx="1">
                  <c:v>1384.8</c:v>
                </c:pt>
                <c:pt idx="2">
                  <c:v>1451.22</c:v>
                </c:pt>
                <c:pt idx="3">
                  <c:v>1658.92</c:v>
                </c:pt>
                <c:pt idx="4">
                  <c:v>11328.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4</a:t>
                    </a:r>
                  </a:p>
                  <a:p>
                    <a:r>
                      <a:t>1128.13</a:t>
                    </a:r>
                  </a:p>
                </c:rich>
              </c:tx>
              <c:dLblPos val="l"/>
              <c:showLegendKey val="0"/>
              <c:showVal val="1"/>
              <c:showCatName val="0"/>
              <c:showSerName val="0"/>
              <c:showPercent val="0"/>
              <c:showBubbleSize val="0"/>
            </c:dLbl>
            <c:dLbl>
              <c:idx val="1"/>
              <c:tx>
                <c:rich>
                  <a:bodyPr/>
                  <a:lstStyle/>
                  <a:p>
                    <a:r>
                      <a:t>IX 95</a:t>
                    </a:r>
                  </a:p>
                  <a:p>
                    <a:r>
                      <a:t>1280.03</a:t>
                    </a:r>
                  </a:p>
                </c:rich>
              </c:tx>
              <c:dLblPos val="l"/>
              <c:showLegendKey val="0"/>
              <c:showVal val="1"/>
              <c:showCatName val="0"/>
              <c:showSerName val="0"/>
              <c:showPercent val="0"/>
              <c:showBubbleSize val="0"/>
            </c:dLbl>
            <c:dLbl>
              <c:idx val="2"/>
              <c:tx>
                <c:rich>
                  <a:bodyPr/>
                  <a:lstStyle/>
                  <a:p>
                    <a:r>
                      <a:t>IX 100</a:t>
                    </a:r>
                  </a:p>
                  <a:p>
                    <a:r>
                      <a:t>1419.9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1</a:t>
                    </a:r>
                  </a:p>
                  <a:p>
                    <a:r>
                      <a:t>6206.0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95</c:v>
                </c:pt>
                <c:pt idx="2">
                  <c:v>IX 100</c:v>
                </c:pt>
                <c:pt idx="3">
                  <c:v/>
                </c:pt>
                <c:pt idx="4">
                  <c:v>IX 91</c:v>
                </c:pt>
              </c:strCache>
            </c:strRef>
          </c:cat>
          <c:val>
            <c:numRef>
              <c:f>Sheet1!$C$2:$C$6</c:f>
              <c:numCache>
                <c:formatCode>General</c:formatCode>
                <c:ptCount val="5"/>
                <c:pt idx="0">
                  <c:v>1128.13</c:v>
                </c:pt>
                <c:pt idx="1">
                  <c:v>1280.03</c:v>
                </c:pt>
                <c:pt idx="2">
                  <c:v>1419.96</c:v>
                </c:pt>
                <c:pt idx="4">
                  <c:v>6206.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95</c:v>
                </c:pt>
                <c:pt idx="2">
                  <c:v>IX 100</c:v>
                </c:pt>
                <c:pt idx="3">
                  <c:v/>
                </c:pt>
                <c:pt idx="4">
                  <c:v>IX 91</c:v>
                </c:pt>
              </c:strCache>
            </c:strRef>
          </c:cat>
          <c:val>
            <c:numRef>
              <c:f>Sheet1!$D$2:$D$6</c:f>
              <c:numCache>
                <c:formatCode>General</c:formatCode>
                <c:ptCount val="5"/>
                <c:pt idx="0">
                  <c:v>2591.34</c:v>
                </c:pt>
                <c:pt idx="1">
                  <c:v>1344.1</c:v>
                </c:pt>
                <c:pt idx="2">
                  <c:v>1486.93</c:v>
                </c:pt>
                <c:pt idx="3">
                  <c:v>1469.74</c:v>
                </c:pt>
                <c:pt idx="4">
                  <c:v>6805.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95</c:v>
                </c:pt>
                <c:pt idx="2">
                  <c:v>IX 100</c:v>
                </c:pt>
                <c:pt idx="3">
                  <c:v/>
                </c:pt>
                <c:pt idx="4">
                  <c:v>IX 91</c:v>
                </c:pt>
              </c:strCache>
            </c:strRef>
          </c:cat>
          <c:val>
            <c:numRef>
              <c:f>Sheet1!$E$2:$E$6</c:f>
              <c:numCache>
                <c:formatCode>General</c:formatCode>
                <c:ptCount val="5"/>
                <c:pt idx="0">
                  <c:v>5972.93</c:v>
                </c:pt>
                <c:pt idx="1">
                  <c:v>6396.57</c:v>
                </c:pt>
                <c:pt idx="3">
                  <c:v>11161.36</c:v>
                </c:pt>
                <c:pt idx="4">
                  <c:v>24966.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95</c:v>
                </c:pt>
                <c:pt idx="2">
                  <c:v>IX 100</c:v>
                </c:pt>
                <c:pt idx="3">
                  <c:v/>
                </c:pt>
                <c:pt idx="4">
                  <c:v>IX 91</c:v>
                </c:pt>
              </c:strCache>
            </c:strRef>
          </c:cat>
          <c:val>
            <c:numRef>
              <c:f>Sheet1!$F$2:$F$6</c:f>
              <c:numCache>
                <c:formatCode>General</c:formatCode>
                <c:ptCount val="5"/>
                <c:pt idx="0">
                  <c:v>17300.19</c:v>
                </c:pt>
                <c:pt idx="2">
                  <c:v>7177.15</c:v>
                </c:pt>
                <c:pt idx="3">
                  <c:v>2518.06</c:v>
                </c:pt>
                <c:pt idx="4">
                  <c:v>24439.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967.157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B$2:$B$5</c:f>
              <c:numCache>
                <c:formatCode>General</c:formatCode>
                <c:ptCount val="4"/>
                <c:pt idx="0">
                  <c:v>1055.39</c:v>
                </c:pt>
                <c:pt idx="3">
                  <c:v>19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184.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910.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C$2:$C$5</c:f>
              <c:numCache>
                <c:formatCode>General</c:formatCode>
                <c:ptCount val="4"/>
                <c:pt idx="0">
                  <c:v>1184.78</c:v>
                </c:pt>
                <c:pt idx="3">
                  <c:v>1910.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Orea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D$2:$D$5</c:f>
              <c:numCache>
                <c:formatCode>General</c:formatCode>
                <c:ptCount val="4"/>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10.666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115</c:v>
                </c:pt>
                <c:pt idx="4">
                  <c:v/>
                </c:pt>
              </c:strCache>
            </c:strRef>
          </c:cat>
          <c:val>
            <c:numRef>
              <c:f>Sheet1!$B$2:$B$6</c:f>
              <c:numCache>
                <c:formatCode>General</c:formatCode>
                <c:ptCount val="5"/>
                <c:pt idx="0">
                  <c:v>1343.6</c:v>
                </c:pt>
                <c:pt idx="1">
                  <c:v>727.51</c:v>
                </c:pt>
                <c:pt idx="2">
                  <c:v>1811.1</c:v>
                </c:pt>
                <c:pt idx="3">
                  <c:v>1350.0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545.49</a:t>
                    </a:r>
                  </a:p>
                </c:rich>
              </c:tx>
              <c:dLblPos val="l"/>
              <c:showLegendKey val="0"/>
              <c:showVal val="1"/>
              <c:showCatName val="0"/>
              <c:showSerName val="0"/>
              <c:showPercent val="0"/>
              <c:showBubbleSize val="0"/>
            </c:dLbl>
            <c:dLbl>
              <c:idx val="1"/>
              <c:tx>
                <c:rich>
                  <a:bodyPr/>
                  <a:lstStyle/>
                  <a:p>
                    <a:r>
                      <a:t>IX 100</a:t>
                    </a:r>
                  </a:p>
                  <a:p>
                    <a:r>
                      <a:t>1102.7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15</a:t>
                    </a:r>
                  </a:p>
                  <a:p>
                    <a:r>
                      <a:t>1543.4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115</c:v>
                </c:pt>
                <c:pt idx="4">
                  <c:v/>
                </c:pt>
              </c:strCache>
            </c:strRef>
          </c:cat>
          <c:val>
            <c:numRef>
              <c:f>Sheet1!$C$2:$C$6</c:f>
              <c:numCache>
                <c:formatCode>General</c:formatCode>
                <c:ptCount val="5"/>
                <c:pt idx="0">
                  <c:v>545.49</c:v>
                </c:pt>
                <c:pt idx="1">
                  <c:v>1102.77</c:v>
                </c:pt>
                <c:pt idx="3">
                  <c:v>1543.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115</c:v>
                </c:pt>
                <c:pt idx="4">
                  <c:v/>
                </c:pt>
              </c:strCache>
            </c:strRef>
          </c:cat>
          <c:val>
            <c:numRef>
              <c:f>Sheet1!$D$2:$D$6</c:f>
              <c:numCache>
                <c:formatCode>General</c:formatCode>
                <c:ptCount val="5"/>
                <c:pt idx="0">
                  <c:v>1333.3</c:v>
                </c:pt>
                <c:pt idx="2">
                  <c:v>1811.1</c:v>
                </c:pt>
                <c:pt idx="3">
                  <c:v>1345.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115</c:v>
                </c:pt>
                <c:pt idx="4">
                  <c:v/>
                </c:pt>
              </c:strCache>
            </c:strRef>
          </c:cat>
          <c:val>
            <c:numRef>
              <c:f>Sheet1!$E$2:$E$6</c:f>
              <c:numCache>
                <c:formatCode>General</c:formatCode>
                <c:ptCount val="5"/>
                <c:pt idx="0">
                  <c:v>3543.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100</c:v>
                </c:pt>
                <c:pt idx="2">
                  <c:v/>
                </c:pt>
                <c:pt idx="3">
                  <c:v>IX 115</c:v>
                </c:pt>
                <c:pt idx="4">
                  <c:v/>
                </c:pt>
              </c:strCache>
            </c:strRef>
          </c:cat>
          <c:val>
            <c:numRef>
              <c:f>Sheet1!$F$2:$F$6</c:f>
              <c:numCache>
                <c:formatCode>General</c:formatCode>
                <c:ptCount val="5"/>
                <c:pt idx="0">
                  <c:v>6080.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081.0"/>
          <c:min val="544.99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100</c:v>
                </c:pt>
                <c:pt idx="2">
                  <c:v>IX 99</c:v>
                </c:pt>
                <c:pt idx="3">
                  <c:v/>
                </c:pt>
                <c:pt idx="4">
                  <c:v/>
                </c:pt>
              </c:strCache>
            </c:strRef>
          </c:cat>
          <c:val>
            <c:numRef>
              <c:f>Sheet1!$B$2:$B$6</c:f>
              <c:numCache>
                <c:formatCode>General</c:formatCode>
                <c:ptCount val="5"/>
                <c:pt idx="0">
                  <c:v>1740.63</c:v>
                </c:pt>
                <c:pt idx="1">
                  <c:v>1363.83</c:v>
                </c:pt>
                <c:pt idx="2">
                  <c:v>1412.98</c:v>
                </c:pt>
                <c:pt idx="3">
                  <c:v>1747.7</c:v>
                </c:pt>
                <c:pt idx="4">
                  <c:v>10745.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0</a:t>
                    </a:r>
                  </a:p>
                  <a:p>
                    <a:r>
                      <a:t>1161.83</a:t>
                    </a:r>
                  </a:p>
                </c:rich>
              </c:tx>
              <c:dLblPos val="l"/>
              <c:showLegendKey val="0"/>
              <c:showVal val="1"/>
              <c:showCatName val="0"/>
              <c:showSerName val="0"/>
              <c:showPercent val="0"/>
              <c:showBubbleSize val="0"/>
            </c:dLbl>
            <c:dLbl>
              <c:idx val="1"/>
              <c:tx>
                <c:rich>
                  <a:bodyPr/>
                  <a:lstStyle/>
                  <a:p>
                    <a:r>
                      <a:t>IX 100</a:t>
                    </a:r>
                  </a:p>
                  <a:p>
                    <a:r>
                      <a:t>1195.07</a:t>
                    </a:r>
                  </a:p>
                </c:rich>
              </c:tx>
              <c:dLblPos val="l"/>
              <c:showLegendKey val="0"/>
              <c:showVal val="1"/>
              <c:showCatName val="0"/>
              <c:showSerName val="0"/>
              <c:showPercent val="0"/>
              <c:showBubbleSize val="0"/>
            </c:dLbl>
            <c:dLbl>
              <c:idx val="2"/>
              <c:tx>
                <c:rich>
                  <a:bodyPr/>
                  <a:lstStyle/>
                  <a:p>
                    <a:r>
                      <a:t>IX 99</a:t>
                    </a:r>
                  </a:p>
                  <a:p>
                    <a:r>
                      <a:t>1405.0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100</c:v>
                </c:pt>
                <c:pt idx="2">
                  <c:v>IX 99</c:v>
                </c:pt>
                <c:pt idx="3">
                  <c:v/>
                </c:pt>
                <c:pt idx="4">
                  <c:v/>
                </c:pt>
              </c:strCache>
            </c:strRef>
          </c:cat>
          <c:val>
            <c:numRef>
              <c:f>Sheet1!$C$2:$C$6</c:f>
              <c:numCache>
                <c:formatCode>General</c:formatCode>
                <c:ptCount val="5"/>
                <c:pt idx="0">
                  <c:v>1161.83</c:v>
                </c:pt>
                <c:pt idx="1">
                  <c:v>1195.07</c:v>
                </c:pt>
                <c:pt idx="2">
                  <c:v>1405.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100</c:v>
                </c:pt>
                <c:pt idx="2">
                  <c:v>IX 99</c:v>
                </c:pt>
                <c:pt idx="3">
                  <c:v/>
                </c:pt>
                <c:pt idx="4">
                  <c:v/>
                </c:pt>
              </c:strCache>
            </c:strRef>
          </c:cat>
          <c:val>
            <c:numRef>
              <c:f>Sheet1!$D$2:$D$6</c:f>
              <c:numCache>
                <c:formatCode>General</c:formatCode>
                <c:ptCount val="5"/>
                <c:pt idx="0">
                  <c:v>2304.94</c:v>
                </c:pt>
                <c:pt idx="1">
                  <c:v>1328.36</c:v>
                </c:pt>
                <c:pt idx="2">
                  <c:v>1416.22</c:v>
                </c:pt>
                <c:pt idx="3">
                  <c:v>1299.94</c:v>
                </c:pt>
                <c:pt idx="4">
                  <c:v>6200.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100</c:v>
                </c:pt>
                <c:pt idx="2">
                  <c:v>IX 99</c:v>
                </c:pt>
                <c:pt idx="3">
                  <c:v/>
                </c:pt>
                <c:pt idx="4">
                  <c:v/>
                </c:pt>
              </c:strCache>
            </c:strRef>
          </c:cat>
          <c:val>
            <c:numRef>
              <c:f>Sheet1!$E$2:$E$6</c:f>
              <c:numCache>
                <c:formatCode>General</c:formatCode>
                <c:ptCount val="5"/>
                <c:pt idx="0">
                  <c:v>12460.42</c:v>
                </c:pt>
                <c:pt idx="1">
                  <c:v>18957.85</c:v>
                </c:pt>
                <c:pt idx="2">
                  <c:v>6054.97</c:v>
                </c:pt>
                <c:pt idx="3">
                  <c:v>2460.71</c:v>
                </c:pt>
                <c:pt idx="4">
                  <c:v>14072.6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100</c:v>
                </c:pt>
                <c:pt idx="2">
                  <c:v>IX 99</c:v>
                </c:pt>
                <c:pt idx="3">
                  <c:v/>
                </c:pt>
                <c:pt idx="4">
                  <c:v/>
                </c:pt>
              </c:strCache>
            </c:strRef>
          </c:cat>
          <c:val>
            <c:numRef>
              <c:f>Sheet1!$F$2:$F$6</c:f>
              <c:numCache>
                <c:formatCode>General</c:formatCode>
                <c:ptCount val="5"/>
                <c:pt idx="0">
                  <c:v>4721.4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958.3472"/>
          <c:min val="1161.333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89</c:v>
                </c:pt>
                <c:pt idx="3">
                  <c:v/>
                </c:pt>
                <c:pt idx="4">
                  <c:v>IX 40</c:v>
                </c:pt>
              </c:strCache>
            </c:strRef>
          </c:cat>
          <c:val>
            <c:numRef>
              <c:f>Sheet1!$B$2:$B$6</c:f>
              <c:numCache>
                <c:formatCode>General</c:formatCode>
                <c:ptCount val="5"/>
                <c:pt idx="0">
                  <c:v>1740.63</c:v>
                </c:pt>
                <c:pt idx="1">
                  <c:v>1363.83</c:v>
                </c:pt>
                <c:pt idx="2">
                  <c:v>1412.98</c:v>
                </c:pt>
                <c:pt idx="3">
                  <c:v>1747.7</c:v>
                </c:pt>
                <c:pt idx="4">
                  <c:v>10745.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058.75</a:t>
                    </a:r>
                  </a:p>
                </c:rich>
              </c:tx>
              <c:dLblPos val="l"/>
              <c:showLegendKey val="0"/>
              <c:showVal val="1"/>
              <c:showCatName val="0"/>
              <c:showSerName val="0"/>
              <c:showPercent val="0"/>
              <c:showBubbleSize val="0"/>
            </c:dLbl>
            <c:dLbl>
              <c:idx val="1"/>
              <c:tx>
                <c:rich>
                  <a:bodyPr/>
                  <a:lstStyle/>
                  <a:p>
                    <a:r>
                      <a:t>IX 83</a:t>
                    </a:r>
                  </a:p>
                  <a:p>
                    <a:r>
                      <a:t>1107.03</a:t>
                    </a:r>
                  </a:p>
                </c:rich>
              </c:tx>
              <c:dLblPos val="l"/>
              <c:showLegendKey val="0"/>
              <c:showVal val="1"/>
              <c:showCatName val="0"/>
              <c:showSerName val="0"/>
              <c:showPercent val="0"/>
              <c:showBubbleSize val="0"/>
            </c:dLbl>
            <c:dLbl>
              <c:idx val="2"/>
              <c:tx>
                <c:rich>
                  <a:bodyPr/>
                  <a:lstStyle/>
                  <a:p>
                    <a:r>
                      <a:t>IX 89</a:t>
                    </a:r>
                  </a:p>
                  <a:p>
                    <a:r>
                      <a:t>1264.2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0</a:t>
                    </a:r>
                  </a:p>
                  <a:p>
                    <a:r>
                      <a:t>563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89</c:v>
                </c:pt>
                <c:pt idx="3">
                  <c:v/>
                </c:pt>
                <c:pt idx="4">
                  <c:v>IX 40</c:v>
                </c:pt>
              </c:strCache>
            </c:strRef>
          </c:cat>
          <c:val>
            <c:numRef>
              <c:f>Sheet1!$C$2:$C$6</c:f>
              <c:numCache>
                <c:formatCode>General</c:formatCode>
                <c:ptCount val="5"/>
                <c:pt idx="0">
                  <c:v>1058.75</c:v>
                </c:pt>
                <c:pt idx="1">
                  <c:v>1107.03</c:v>
                </c:pt>
                <c:pt idx="2">
                  <c:v>1264.21</c:v>
                </c:pt>
                <c:pt idx="4">
                  <c:v>563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89</c:v>
                </c:pt>
                <c:pt idx="3">
                  <c:v/>
                </c:pt>
                <c:pt idx="4">
                  <c:v>IX 40</c:v>
                </c:pt>
              </c:strCache>
            </c:strRef>
          </c:cat>
          <c:val>
            <c:numRef>
              <c:f>Sheet1!$D$2:$D$6</c:f>
              <c:numCache>
                <c:formatCode>General</c:formatCode>
                <c:ptCount val="5"/>
                <c:pt idx="0">
                  <c:v>2304.94</c:v>
                </c:pt>
                <c:pt idx="1">
                  <c:v>1328.36</c:v>
                </c:pt>
                <c:pt idx="2">
                  <c:v>1416.22</c:v>
                </c:pt>
                <c:pt idx="3">
                  <c:v>1299.94</c:v>
                </c:pt>
                <c:pt idx="4">
                  <c:v>6200.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89</c:v>
                </c:pt>
                <c:pt idx="3">
                  <c:v/>
                </c:pt>
                <c:pt idx="4">
                  <c:v>IX 40</c:v>
                </c:pt>
              </c:strCache>
            </c:strRef>
          </c:cat>
          <c:val>
            <c:numRef>
              <c:f>Sheet1!$E$2:$E$6</c:f>
              <c:numCache>
                <c:formatCode>General</c:formatCode>
                <c:ptCount val="5"/>
                <c:pt idx="0">
                  <c:v>12460.42</c:v>
                </c:pt>
                <c:pt idx="1">
                  <c:v>18957.85</c:v>
                </c:pt>
                <c:pt idx="2">
                  <c:v>6054.97</c:v>
                </c:pt>
                <c:pt idx="3">
                  <c:v>2460.71</c:v>
                </c:pt>
                <c:pt idx="4">
                  <c:v>14072.6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89</c:v>
                </c:pt>
                <c:pt idx="3">
                  <c:v/>
                </c:pt>
                <c:pt idx="4">
                  <c:v>IX 40</c:v>
                </c:pt>
              </c:strCache>
            </c:strRef>
          </c:cat>
          <c:val>
            <c:numRef>
              <c:f>Sheet1!$F$2:$F$6</c:f>
              <c:numCache>
                <c:formatCode>General</c:formatCode>
                <c:ptCount val="5"/>
                <c:pt idx="0">
                  <c:v>4721.4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958.3472"/>
          <c:min val="1058.24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03</c:v>
                </c:pt>
                <c:pt idx="2">
                  <c:v/>
                </c:pt>
                <c:pt idx="3">
                  <c:v/>
                </c:pt>
                <c:pt idx="4">
                  <c:v/>
                </c:pt>
              </c:strCache>
            </c:strRef>
          </c:cat>
          <c:val>
            <c:numRef>
              <c:f>Sheet1!$B$2:$B$6</c:f>
              <c:numCache>
                <c:formatCode>General</c:formatCode>
                <c:ptCount val="5"/>
                <c:pt idx="0">
                  <c:v>1740.63</c:v>
                </c:pt>
                <c:pt idx="1">
                  <c:v>1363.83</c:v>
                </c:pt>
                <c:pt idx="2">
                  <c:v>1412.98</c:v>
                </c:pt>
                <c:pt idx="3">
                  <c:v>1747.7</c:v>
                </c:pt>
                <c:pt idx="4">
                  <c:v>10745.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03</a:t>
                    </a:r>
                  </a:p>
                  <a:p>
                    <a:r>
                      <a:t>4025.5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03</c:v>
                </c:pt>
                <c:pt idx="2">
                  <c:v/>
                </c:pt>
                <c:pt idx="3">
                  <c:v/>
                </c:pt>
                <c:pt idx="4">
                  <c:v/>
                </c:pt>
              </c:strCache>
            </c:strRef>
          </c:cat>
          <c:val>
            <c:numRef>
              <c:f>Sheet1!$C$2:$C$6</c:f>
              <c:numCache>
                <c:formatCode>General</c:formatCode>
                <c:ptCount val="5"/>
                <c:pt idx="1">
                  <c:v>4025.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03</c:v>
                </c:pt>
                <c:pt idx="2">
                  <c:v/>
                </c:pt>
                <c:pt idx="3">
                  <c:v/>
                </c:pt>
                <c:pt idx="4">
                  <c:v/>
                </c:pt>
              </c:strCache>
            </c:strRef>
          </c:cat>
          <c:val>
            <c:numRef>
              <c:f>Sheet1!$D$2:$D$6</c:f>
              <c:numCache>
                <c:formatCode>General</c:formatCode>
                <c:ptCount val="5"/>
                <c:pt idx="0">
                  <c:v>2304.94</c:v>
                </c:pt>
                <c:pt idx="1">
                  <c:v>1328.36</c:v>
                </c:pt>
                <c:pt idx="2">
                  <c:v>1416.22</c:v>
                </c:pt>
                <c:pt idx="3">
                  <c:v>1299.94</c:v>
                </c:pt>
                <c:pt idx="4">
                  <c:v>6200.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03</c:v>
                </c:pt>
                <c:pt idx="2">
                  <c:v/>
                </c:pt>
                <c:pt idx="3">
                  <c:v/>
                </c:pt>
                <c:pt idx="4">
                  <c:v/>
                </c:pt>
              </c:strCache>
            </c:strRef>
          </c:cat>
          <c:val>
            <c:numRef>
              <c:f>Sheet1!$E$2:$E$6</c:f>
              <c:numCache>
                <c:formatCode>General</c:formatCode>
                <c:ptCount val="5"/>
                <c:pt idx="0">
                  <c:v>12460.42</c:v>
                </c:pt>
                <c:pt idx="1">
                  <c:v>18957.85</c:v>
                </c:pt>
                <c:pt idx="2">
                  <c:v>6054.97</c:v>
                </c:pt>
                <c:pt idx="3">
                  <c:v>2460.71</c:v>
                </c:pt>
                <c:pt idx="4">
                  <c:v>14072.6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03</c:v>
                </c:pt>
                <c:pt idx="2">
                  <c:v/>
                </c:pt>
                <c:pt idx="3">
                  <c:v/>
                </c:pt>
                <c:pt idx="4">
                  <c:v/>
                </c:pt>
              </c:strCache>
            </c:strRef>
          </c:cat>
          <c:val>
            <c:numRef>
              <c:f>Sheet1!$F$2:$F$6</c:f>
              <c:numCache>
                <c:formatCode>General</c:formatCode>
                <c:ptCount val="5"/>
                <c:pt idx="0">
                  <c:v>4721.4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958.3472"/>
          <c:min val="1299.44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
                </c:pt>
                <c:pt idx="4">
                  <c:v/>
                </c:pt>
              </c:strCache>
            </c:strRef>
          </c:cat>
          <c:val>
            <c:numRef>
              <c:f>Sheet1!$B$2:$B$6</c:f>
              <c:numCache>
                <c:formatCode>General</c:formatCode>
                <c:ptCount val="5"/>
                <c:pt idx="0">
                  <c:v>14992.05</c:v>
                </c:pt>
                <c:pt idx="1">
                  <c:v>1060.36</c:v>
                </c:pt>
                <c:pt idx="2">
                  <c:v>10058.66</c:v>
                </c:pt>
                <c:pt idx="3">
                  <c:v>337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826.59</a:t>
                    </a:r>
                  </a:p>
                </c:rich>
              </c:tx>
              <c:dLblPos val="l"/>
              <c:showLegendKey val="0"/>
              <c:showVal val="1"/>
              <c:showCatName val="0"/>
              <c:showSerName val="0"/>
              <c:showPercent val="0"/>
              <c:showBubbleSize val="0"/>
            </c:dLbl>
            <c:dLbl>
              <c:idx val="2"/>
              <c:tx>
                <c:rich>
                  <a:bodyPr/>
                  <a:lstStyle/>
                  <a:p>
                    <a:r>
                      <a:t>IX 8</a:t>
                    </a:r>
                  </a:p>
                  <a:p>
                    <a:r>
                      <a:t>1189.7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
                </c:pt>
                <c:pt idx="4">
                  <c:v/>
                </c:pt>
              </c:strCache>
            </c:strRef>
          </c:cat>
          <c:val>
            <c:numRef>
              <c:f>Sheet1!$C$2:$C$6</c:f>
              <c:numCache>
                <c:formatCode>General</c:formatCode>
                <c:ptCount val="5"/>
                <c:pt idx="1">
                  <c:v>826.59</c:v>
                </c:pt>
                <c:pt idx="2">
                  <c:v>1189.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
                </c:pt>
                <c:pt idx="4">
                  <c:v/>
                </c:pt>
              </c:strCache>
            </c:strRef>
          </c:cat>
          <c:val>
            <c:numRef>
              <c:f>Sheet1!$D$2:$D$6</c:f>
              <c:numCache>
                <c:formatCode>General</c:formatCode>
                <c:ptCount val="5"/>
                <c:pt idx="0">
                  <c:v>14992.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8</c:v>
                </c:pt>
                <c:pt idx="3">
                  <c:v/>
                </c:pt>
                <c:pt idx="4">
                  <c:v/>
                </c:pt>
              </c:strCache>
            </c:strRef>
          </c:cat>
          <c:val>
            <c:numRef>
              <c:f>Sheet1!$F$2:$F$6</c:f>
              <c:numCache>
                <c:formatCode>General</c:formatCode>
                <c:ptCount val="5"/>
                <c:pt idx="2">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826.094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B$2:$B$6</c:f>
              <c:numCache>
                <c:formatCode>General</c:formatCode>
                <c:ptCount val="5"/>
                <c:pt idx="0">
                  <c:v>14992.05</c:v>
                </c:pt>
                <c:pt idx="1">
                  <c:v>1060.36</c:v>
                </c:pt>
                <c:pt idx="2">
                  <c:v>10058.66</c:v>
                </c:pt>
                <c:pt idx="3">
                  <c:v>337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377.7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C$2:$C$6</c:f>
              <c:numCache>
                <c:formatCode>General</c:formatCode>
                <c:ptCount val="5"/>
                <c:pt idx="3">
                  <c:v>3377.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D$2:$D$6</c:f>
              <c:numCache>
                <c:formatCode>General</c:formatCode>
                <c:ptCount val="5"/>
                <c:pt idx="0">
                  <c:v>14992.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E$2:$E$6</c:f>
              <c:numCache>
                <c:formatCode>General</c:formatCode>
                <c:ptCount val="5"/>
                <c:pt idx="2">
                  <c:v>15126.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1059.856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B$2:$B$6</c:f>
              <c:numCache>
                <c:formatCode>General</c:formatCode>
                <c:ptCount val="5"/>
                <c:pt idx="0">
                  <c:v>696.44</c:v>
                </c:pt>
                <c:pt idx="1">
                  <c:v>1315.27</c:v>
                </c:pt>
                <c:pt idx="2">
                  <c:v>1694.59</c:v>
                </c:pt>
                <c:pt idx="3">
                  <c:v>1438.59</c:v>
                </c:pt>
                <c:pt idx="4">
                  <c:v>39236.2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6</a:t>
                    </a:r>
                  </a:p>
                  <a:p>
                    <a:r>
                      <a:t>589.3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C$2:$C$6</c:f>
              <c:numCache>
                <c:formatCode>General</c:formatCode>
                <c:ptCount val="5"/>
                <c:pt idx="1">
                  <c:v>589.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D$2:$D$6</c:f>
              <c:numCache>
                <c:formatCode>General</c:formatCode>
                <c:ptCount val="5"/>
                <c:pt idx="1">
                  <c:v>1287.65</c:v>
                </c:pt>
                <c:pt idx="2">
                  <c:v>1693.04</c:v>
                </c:pt>
                <c:pt idx="3">
                  <c:v>1433.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F$2:$F$6</c:f>
              <c:numCache>
                <c:formatCode>General</c:formatCode>
                <c:ptCount val="5"/>
                <c:pt idx="1">
                  <c:v>2125.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9236.7222"/>
          <c:min val="588.852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3</c:v>
                </c:pt>
                <c:pt idx="1">
                  <c:v/>
                </c:pt>
                <c:pt idx="2">
                  <c:v/>
                </c:pt>
                <c:pt idx="3">
                  <c:v/>
                </c:pt>
              </c:strCache>
            </c:strRef>
          </c:cat>
          <c:val>
            <c:numRef>
              <c:f>Sheet1!$B$2:$B$5</c:f>
              <c:numCache>
                <c:formatCode>General</c:formatCode>
                <c:ptCount val="4"/>
                <c:pt idx="0">
                  <c:v>1573.0</c:v>
                </c:pt>
                <c:pt idx="1">
                  <c:v>1142.43</c:v>
                </c:pt>
                <c:pt idx="2">
                  <c:v>580.67</c:v>
                </c:pt>
                <c:pt idx="3">
                  <c:v>3912.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3</a:t>
                    </a:r>
                  </a:p>
                  <a:p>
                    <a:r>
                      <a:t>4326.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3</c:v>
                </c:pt>
                <c:pt idx="1">
                  <c:v/>
                </c:pt>
                <c:pt idx="2">
                  <c:v/>
                </c:pt>
                <c:pt idx="3">
                  <c:v/>
                </c:pt>
              </c:strCache>
            </c:strRef>
          </c:cat>
          <c:val>
            <c:numRef>
              <c:f>Sheet1!$C$2:$C$5</c:f>
              <c:numCache>
                <c:formatCode>General</c:formatCode>
                <c:ptCount val="4"/>
                <c:pt idx="0">
                  <c:v>4326.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3</c:v>
                </c:pt>
                <c:pt idx="1">
                  <c:v/>
                </c:pt>
                <c:pt idx="2">
                  <c:v/>
                </c:pt>
                <c:pt idx="3">
                  <c:v/>
                </c:pt>
              </c:strCache>
            </c:strRef>
          </c:cat>
          <c:val>
            <c:numRef>
              <c:f>Sheet1!$D$2:$D$5</c:f>
              <c:numCache>
                <c:formatCode>General</c:formatCode>
                <c:ptCount val="4"/>
                <c:pt idx="0">
                  <c:v>1712.77</c:v>
                </c:pt>
                <c:pt idx="1">
                  <c:v>1262.58</c:v>
                </c:pt>
                <c:pt idx="2">
                  <c:v>565.69</c:v>
                </c:pt>
                <c:pt idx="3">
                  <c:v>1396.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3</c:v>
                </c:pt>
                <c:pt idx="1">
                  <c:v/>
                </c:pt>
                <c:pt idx="2">
                  <c:v/>
                </c:pt>
                <c:pt idx="3">
                  <c:v/>
                </c:pt>
              </c:strCache>
            </c:strRef>
          </c:cat>
          <c:val>
            <c:numRef>
              <c:f>Sheet1!$E$2:$E$5</c:f>
              <c:numCache>
                <c:formatCode>General</c:formatCode>
                <c:ptCount val="4"/>
                <c:pt idx="0">
                  <c:v>9051.43</c:v>
                </c:pt>
                <c:pt idx="3">
                  <c:v>9384.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clip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3</c:v>
                </c:pt>
                <c:pt idx="1">
                  <c:v/>
                </c:pt>
                <c:pt idx="2">
                  <c:v/>
                </c:pt>
                <c:pt idx="3">
                  <c:v/>
                </c:pt>
              </c:strCache>
            </c:strRef>
          </c:cat>
          <c:val>
            <c:numRef>
              <c:f>Sheet1!$F$2:$F$5</c:f>
              <c:numCache>
                <c:formatCode>General</c:formatCode>
                <c:ptCount val="4"/>
                <c:pt idx="0">
                  <c:v>4215.67</c:v>
                </c:pt>
                <c:pt idx="3">
                  <c:v>3699.9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85.3571"/>
          <c:min val="565.18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124</c:v>
                </c:pt>
                <c:pt idx="4">
                  <c:v/>
                </c:pt>
              </c:strCache>
            </c:strRef>
          </c:cat>
          <c:val>
            <c:numRef>
              <c:f>Sheet1!$B$2:$B$6</c:f>
              <c:numCache>
                <c:formatCode>General</c:formatCode>
                <c:ptCount val="5"/>
                <c:pt idx="0">
                  <c:v>696.44</c:v>
                </c:pt>
                <c:pt idx="1">
                  <c:v>1315.27</c:v>
                </c:pt>
                <c:pt idx="2">
                  <c:v>1694.59</c:v>
                </c:pt>
                <c:pt idx="3">
                  <c:v>1438.59</c:v>
                </c:pt>
                <c:pt idx="4">
                  <c:v>39236.2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57.88</a:t>
                    </a:r>
                  </a:p>
                </c:rich>
              </c:tx>
              <c:dLblPos val="l"/>
              <c:showLegendKey val="0"/>
              <c:showVal val="1"/>
              <c:showCatName val="0"/>
              <c:showSerName val="0"/>
              <c:showPercent val="0"/>
              <c:showBubbleSize val="0"/>
            </c:dLbl>
            <c:dLbl>
              <c:idx val="1"/>
              <c:tx>
                <c:rich>
                  <a:bodyPr/>
                  <a:lstStyle/>
                  <a:p>
                    <a:r>
                      <a:t>IX 56</a:t>
                    </a:r>
                  </a:p>
                  <a:p>
                    <a:r>
                      <a:t>718.6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24</a:t>
                    </a:r>
                  </a:p>
                  <a:p>
                    <a:r>
                      <a:t>1779.9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124</c:v>
                </c:pt>
                <c:pt idx="4">
                  <c:v/>
                </c:pt>
              </c:strCache>
            </c:strRef>
          </c:cat>
          <c:val>
            <c:numRef>
              <c:f>Sheet1!$C$2:$C$6</c:f>
              <c:numCache>
                <c:formatCode>General</c:formatCode>
                <c:ptCount val="5"/>
                <c:pt idx="0">
                  <c:v>1057.88</c:v>
                </c:pt>
                <c:pt idx="1">
                  <c:v>718.69</c:v>
                </c:pt>
                <c:pt idx="3">
                  <c:v>1779.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124</c:v>
                </c:pt>
                <c:pt idx="4">
                  <c:v/>
                </c:pt>
              </c:strCache>
            </c:strRef>
          </c:cat>
          <c:val>
            <c:numRef>
              <c:f>Sheet1!$D$2:$D$6</c:f>
              <c:numCache>
                <c:formatCode>General</c:formatCode>
                <c:ptCount val="5"/>
                <c:pt idx="1">
                  <c:v>1287.65</c:v>
                </c:pt>
                <c:pt idx="2">
                  <c:v>1693.04</c:v>
                </c:pt>
                <c:pt idx="3">
                  <c:v>1433.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124</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124</c:v>
                </c:pt>
                <c:pt idx="4">
                  <c:v/>
                </c:pt>
              </c:strCache>
            </c:strRef>
          </c:cat>
          <c:val>
            <c:numRef>
              <c:f>Sheet1!$F$2:$F$6</c:f>
              <c:numCache>
                <c:formatCode>General</c:formatCode>
                <c:ptCount val="5"/>
                <c:pt idx="1">
                  <c:v>2125.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9236.7222"/>
          <c:min val="695.93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
                </c:pt>
                <c:pt idx="3">
                  <c:v>IX 100</c:v>
                </c:pt>
                <c:pt idx="4">
                  <c:v/>
                </c:pt>
              </c:strCache>
            </c:strRef>
          </c:cat>
          <c:val>
            <c:numRef>
              <c:f>Sheet1!$B$2:$B$6</c:f>
              <c:numCache>
                <c:formatCode>General</c:formatCode>
                <c:ptCount val="5"/>
                <c:pt idx="0">
                  <c:v>1787.1</c:v>
                </c:pt>
                <c:pt idx="1">
                  <c:v>1382.53</c:v>
                </c:pt>
                <c:pt idx="2">
                  <c:v>1743.63</c:v>
                </c:pt>
                <c:pt idx="3">
                  <c:v>1380.8</c:v>
                </c:pt>
                <c:pt idx="4">
                  <c:v>10299.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1166.36</a:t>
                    </a:r>
                  </a:p>
                </c:rich>
              </c:tx>
              <c:dLblPos val="l"/>
              <c:showLegendKey val="0"/>
              <c:showVal val="1"/>
              <c:showCatName val="0"/>
              <c:showSerName val="0"/>
              <c:showPercent val="0"/>
              <c:showBubbleSize val="0"/>
            </c:dLbl>
            <c:dLbl>
              <c:idx val="1"/>
              <c:tx>
                <c:rich>
                  <a:bodyPr/>
                  <a:lstStyle/>
                  <a:p>
                    <a:r>
                      <a:t>IX 100</a:t>
                    </a:r>
                  </a:p>
                  <a:p>
                    <a:r>
                      <a:t>1226.2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378.8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
                </c:pt>
                <c:pt idx="3">
                  <c:v>IX 100</c:v>
                </c:pt>
                <c:pt idx="4">
                  <c:v/>
                </c:pt>
              </c:strCache>
            </c:strRef>
          </c:cat>
          <c:val>
            <c:numRef>
              <c:f>Sheet1!$C$2:$C$6</c:f>
              <c:numCache>
                <c:formatCode>General</c:formatCode>
                <c:ptCount val="5"/>
                <c:pt idx="0">
                  <c:v>1166.36</c:v>
                </c:pt>
                <c:pt idx="1">
                  <c:v>1226.22</c:v>
                </c:pt>
                <c:pt idx="3">
                  <c:v>1378.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
                </c:pt>
                <c:pt idx="3">
                  <c:v>IX 100</c:v>
                </c:pt>
                <c:pt idx="4">
                  <c:v/>
                </c:pt>
              </c:strCache>
            </c:strRef>
          </c:cat>
          <c:val>
            <c:numRef>
              <c:f>Sheet1!$D$2:$D$6</c:f>
              <c:numCache>
                <c:formatCode>General</c:formatCode>
                <c:ptCount val="5"/>
                <c:pt idx="0">
                  <c:v>2288.67</c:v>
                </c:pt>
                <c:pt idx="1">
                  <c:v>1326.96</c:v>
                </c:pt>
                <c:pt idx="2">
                  <c:v>1293.46</c:v>
                </c:pt>
                <c:pt idx="3">
                  <c:v>1380.12</c:v>
                </c:pt>
                <c:pt idx="4">
                  <c:v>6252.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
                </c:pt>
                <c:pt idx="3">
                  <c:v>IX 100</c:v>
                </c:pt>
                <c:pt idx="4">
                  <c:v/>
                </c:pt>
              </c:strCache>
            </c:strRef>
          </c:cat>
          <c:val>
            <c:numRef>
              <c:f>Sheet1!$E$2:$E$6</c:f>
              <c:numCache>
                <c:formatCode>General</c:formatCode>
                <c:ptCount val="5"/>
                <c:pt idx="0">
                  <c:v>12474.58</c:v>
                </c:pt>
                <c:pt idx="1">
                  <c:v>14152.06</c:v>
                </c:pt>
                <c:pt idx="2">
                  <c:v>2401.76</c:v>
                </c:pt>
                <c:pt idx="3">
                  <c:v>5868.88</c:v>
                </c:pt>
                <c:pt idx="4">
                  <c:v>13543.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
                </c:pt>
                <c:pt idx="3">
                  <c:v>IX 100</c:v>
                </c:pt>
                <c:pt idx="4">
                  <c:v/>
                </c:pt>
              </c:strCache>
            </c:strRef>
          </c:cat>
          <c:val>
            <c:numRef>
              <c:f>Sheet1!$F$2:$F$6</c:f>
              <c:numCache>
                <c:formatCode>General</c:formatCode>
                <c:ptCount val="5"/>
                <c:pt idx="0">
                  <c:v>4693.3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152.5645"/>
          <c:min val="1165.85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1</c:v>
                </c:pt>
                <c:pt idx="2">
                  <c:v/>
                </c:pt>
                <c:pt idx="3">
                  <c:v>IX 83</c:v>
                </c:pt>
                <c:pt idx="4">
                  <c:v>IX 40</c:v>
                </c:pt>
              </c:strCache>
            </c:strRef>
          </c:cat>
          <c:val>
            <c:numRef>
              <c:f>Sheet1!$B$2:$B$6</c:f>
              <c:numCache>
                <c:formatCode>General</c:formatCode>
                <c:ptCount val="5"/>
                <c:pt idx="0">
                  <c:v>1787.1</c:v>
                </c:pt>
                <c:pt idx="1">
                  <c:v>1382.53</c:v>
                </c:pt>
                <c:pt idx="2">
                  <c:v>1743.63</c:v>
                </c:pt>
                <c:pt idx="3">
                  <c:v>1380.8</c:v>
                </c:pt>
                <c:pt idx="4">
                  <c:v>10299.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062.99</a:t>
                    </a:r>
                  </a:p>
                </c:rich>
              </c:tx>
              <c:dLblPos val="l"/>
              <c:showLegendKey val="0"/>
              <c:showVal val="1"/>
              <c:showCatName val="0"/>
              <c:showSerName val="0"/>
              <c:showPercent val="0"/>
              <c:showBubbleSize val="0"/>
            </c:dLbl>
            <c:dLbl>
              <c:idx val="1"/>
              <c:tx>
                <c:rich>
                  <a:bodyPr/>
                  <a:lstStyle/>
                  <a:p>
                    <a:r>
                      <a:t>IX 81</a:t>
                    </a:r>
                  </a:p>
                  <a:p>
                    <a:r>
                      <a:t>1072.8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83</a:t>
                    </a:r>
                  </a:p>
                  <a:p>
                    <a:r>
                      <a:t>1140.68</a:t>
                    </a:r>
                  </a:p>
                </c:rich>
              </c:tx>
              <c:dLblPos val="l"/>
              <c:showLegendKey val="0"/>
              <c:showVal val="1"/>
              <c:showCatName val="0"/>
              <c:showSerName val="0"/>
              <c:showPercent val="0"/>
              <c:showBubbleSize val="0"/>
            </c:dLbl>
            <c:dLbl>
              <c:idx val="4"/>
              <c:tx>
                <c:rich>
                  <a:bodyPr/>
                  <a:lstStyle/>
                  <a:p>
                    <a:r>
                      <a:t>IX 40</a:t>
                    </a:r>
                  </a:p>
                  <a:p>
                    <a:r>
                      <a:t>5413.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1</c:v>
                </c:pt>
                <c:pt idx="2">
                  <c:v/>
                </c:pt>
                <c:pt idx="3">
                  <c:v>IX 83</c:v>
                </c:pt>
                <c:pt idx="4">
                  <c:v>IX 40</c:v>
                </c:pt>
              </c:strCache>
            </c:strRef>
          </c:cat>
          <c:val>
            <c:numRef>
              <c:f>Sheet1!$C$2:$C$6</c:f>
              <c:numCache>
                <c:formatCode>General</c:formatCode>
                <c:ptCount val="5"/>
                <c:pt idx="0">
                  <c:v>1062.99</c:v>
                </c:pt>
                <c:pt idx="1">
                  <c:v>1072.89</c:v>
                </c:pt>
                <c:pt idx="3">
                  <c:v>1140.68</c:v>
                </c:pt>
                <c:pt idx="4">
                  <c:v>541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1</c:v>
                </c:pt>
                <c:pt idx="2">
                  <c:v/>
                </c:pt>
                <c:pt idx="3">
                  <c:v>IX 83</c:v>
                </c:pt>
                <c:pt idx="4">
                  <c:v>IX 40</c:v>
                </c:pt>
              </c:strCache>
            </c:strRef>
          </c:cat>
          <c:val>
            <c:numRef>
              <c:f>Sheet1!$D$2:$D$6</c:f>
              <c:numCache>
                <c:formatCode>General</c:formatCode>
                <c:ptCount val="5"/>
                <c:pt idx="0">
                  <c:v>2288.67</c:v>
                </c:pt>
                <c:pt idx="1">
                  <c:v>1326.96</c:v>
                </c:pt>
                <c:pt idx="2">
                  <c:v>1293.46</c:v>
                </c:pt>
                <c:pt idx="3">
                  <c:v>1380.12</c:v>
                </c:pt>
                <c:pt idx="4">
                  <c:v>6252.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1</c:v>
                </c:pt>
                <c:pt idx="2">
                  <c:v/>
                </c:pt>
                <c:pt idx="3">
                  <c:v>IX 83</c:v>
                </c:pt>
                <c:pt idx="4">
                  <c:v>IX 40</c:v>
                </c:pt>
              </c:strCache>
            </c:strRef>
          </c:cat>
          <c:val>
            <c:numRef>
              <c:f>Sheet1!$E$2:$E$6</c:f>
              <c:numCache>
                <c:formatCode>General</c:formatCode>
                <c:ptCount val="5"/>
                <c:pt idx="0">
                  <c:v>12474.58</c:v>
                </c:pt>
                <c:pt idx="1">
                  <c:v>14152.06</c:v>
                </c:pt>
                <c:pt idx="2">
                  <c:v>2401.76</c:v>
                </c:pt>
                <c:pt idx="3">
                  <c:v>5868.88</c:v>
                </c:pt>
                <c:pt idx="4">
                  <c:v>13543.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1</c:v>
                </c:pt>
                <c:pt idx="2">
                  <c:v/>
                </c:pt>
                <c:pt idx="3">
                  <c:v>IX 83</c:v>
                </c:pt>
                <c:pt idx="4">
                  <c:v>IX 40</c:v>
                </c:pt>
              </c:strCache>
            </c:strRef>
          </c:cat>
          <c:val>
            <c:numRef>
              <c:f>Sheet1!$F$2:$F$6</c:f>
              <c:numCache>
                <c:formatCode>General</c:formatCode>
                <c:ptCount val="5"/>
                <c:pt idx="0">
                  <c:v>4693.3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152.5645"/>
          <c:min val="1062.49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7</c:v>
                </c:pt>
                <c:pt idx="2">
                  <c:v/>
                </c:pt>
                <c:pt idx="3">
                  <c:v/>
                </c:pt>
                <c:pt idx="4">
                  <c:v/>
                </c:pt>
              </c:strCache>
            </c:strRef>
          </c:cat>
          <c:val>
            <c:numRef>
              <c:f>Sheet1!$B$2:$B$6</c:f>
              <c:numCache>
                <c:formatCode>General</c:formatCode>
                <c:ptCount val="5"/>
                <c:pt idx="0">
                  <c:v>1787.1</c:v>
                </c:pt>
                <c:pt idx="1">
                  <c:v>1382.53</c:v>
                </c:pt>
                <c:pt idx="2">
                  <c:v>1743.63</c:v>
                </c:pt>
                <c:pt idx="3">
                  <c:v>1380.8</c:v>
                </c:pt>
                <c:pt idx="4">
                  <c:v>10299.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27</a:t>
                    </a:r>
                  </a:p>
                  <a:p>
                    <a:r>
                      <a:t>4341.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7</c:v>
                </c:pt>
                <c:pt idx="2">
                  <c:v/>
                </c:pt>
                <c:pt idx="3">
                  <c:v/>
                </c:pt>
                <c:pt idx="4">
                  <c:v/>
                </c:pt>
              </c:strCache>
            </c:strRef>
          </c:cat>
          <c:val>
            <c:numRef>
              <c:f>Sheet1!$C$2:$C$6</c:f>
              <c:numCache>
                <c:formatCode>General</c:formatCode>
                <c:ptCount val="5"/>
                <c:pt idx="1">
                  <c:v>434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7</c:v>
                </c:pt>
                <c:pt idx="2">
                  <c:v/>
                </c:pt>
                <c:pt idx="3">
                  <c:v/>
                </c:pt>
                <c:pt idx="4">
                  <c:v/>
                </c:pt>
              </c:strCache>
            </c:strRef>
          </c:cat>
          <c:val>
            <c:numRef>
              <c:f>Sheet1!$D$2:$D$6</c:f>
              <c:numCache>
                <c:formatCode>General</c:formatCode>
                <c:ptCount val="5"/>
                <c:pt idx="0">
                  <c:v>2288.67</c:v>
                </c:pt>
                <c:pt idx="1">
                  <c:v>1326.96</c:v>
                </c:pt>
                <c:pt idx="2">
                  <c:v>1293.46</c:v>
                </c:pt>
                <c:pt idx="3">
                  <c:v>1380.12</c:v>
                </c:pt>
                <c:pt idx="4">
                  <c:v>6252.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7</c:v>
                </c:pt>
                <c:pt idx="2">
                  <c:v/>
                </c:pt>
                <c:pt idx="3">
                  <c:v/>
                </c:pt>
                <c:pt idx="4">
                  <c:v/>
                </c:pt>
              </c:strCache>
            </c:strRef>
          </c:cat>
          <c:val>
            <c:numRef>
              <c:f>Sheet1!$E$2:$E$6</c:f>
              <c:numCache>
                <c:formatCode>General</c:formatCode>
                <c:ptCount val="5"/>
                <c:pt idx="0">
                  <c:v>12474.58</c:v>
                </c:pt>
                <c:pt idx="1">
                  <c:v>14152.06</c:v>
                </c:pt>
                <c:pt idx="2">
                  <c:v>2401.76</c:v>
                </c:pt>
                <c:pt idx="3">
                  <c:v>5868.88</c:v>
                </c:pt>
                <c:pt idx="4">
                  <c:v>13543.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7</c:v>
                </c:pt>
                <c:pt idx="2">
                  <c:v/>
                </c:pt>
                <c:pt idx="3">
                  <c:v/>
                </c:pt>
                <c:pt idx="4">
                  <c:v/>
                </c:pt>
              </c:strCache>
            </c:strRef>
          </c:cat>
          <c:val>
            <c:numRef>
              <c:f>Sheet1!$F$2:$F$6</c:f>
              <c:numCache>
                <c:formatCode>General</c:formatCode>
                <c:ptCount val="5"/>
                <c:pt idx="0">
                  <c:v>4693.3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152.5645"/>
          <c:min val="1292.96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11774.95</c:v>
                </c:pt>
                <c:pt idx="1">
                  <c:v>964.34</c:v>
                </c:pt>
                <c:pt idx="2">
                  <c:v>23504.17</c:v>
                </c:pt>
                <c:pt idx="3">
                  <c:v>370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787.5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787.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11774.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E$2:$E$5</c:f>
              <c:numCache>
                <c:formatCode>General</c:formatCode>
                <c:ptCount val="4"/>
                <c:pt idx="2">
                  <c:v>23504.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787.00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0">
                  <c:v>11774.95</c:v>
                </c:pt>
                <c:pt idx="1">
                  <c:v>964.34</c:v>
                </c:pt>
                <c:pt idx="2">
                  <c:v>23504.17</c:v>
                </c:pt>
                <c:pt idx="3">
                  <c:v>370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700.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370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pt idx="0">
                  <c:v>11774.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pt idx="2">
                  <c:v>23504.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963.83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
                </c:pt>
                <c:pt idx="2">
                  <c:v/>
                </c:pt>
                <c:pt idx="3">
                  <c:v/>
                </c:pt>
                <c:pt idx="4">
                  <c:v/>
                </c:pt>
              </c:strCache>
            </c:strRef>
          </c:cat>
          <c:val>
            <c:numRef>
              <c:f>Sheet1!$B$2:$B$6</c:f>
              <c:numCache>
                <c:formatCode>General</c:formatCode>
                <c:ptCount val="5"/>
                <c:pt idx="0">
                  <c:v>1301.42</c:v>
                </c:pt>
                <c:pt idx="1">
                  <c:v>667.13</c:v>
                </c:pt>
                <c:pt idx="2">
                  <c:v>1722.99</c:v>
                </c:pt>
                <c:pt idx="3">
                  <c:v>1435.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5</a:t>
                    </a:r>
                  </a:p>
                  <a:p>
                    <a:r>
                      <a:t>584.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
                </c:pt>
                <c:pt idx="2">
                  <c:v/>
                </c:pt>
                <c:pt idx="3">
                  <c:v/>
                </c:pt>
                <c:pt idx="4">
                  <c:v/>
                </c:pt>
              </c:strCache>
            </c:strRef>
          </c:cat>
          <c:val>
            <c:numRef>
              <c:f>Sheet1!$C$2:$C$6</c:f>
              <c:numCache>
                <c:formatCode>General</c:formatCode>
                <c:ptCount val="5"/>
                <c:pt idx="0">
                  <c:v>58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
                </c:pt>
                <c:pt idx="2">
                  <c:v/>
                </c:pt>
                <c:pt idx="3">
                  <c:v/>
                </c:pt>
                <c:pt idx="4">
                  <c:v/>
                </c:pt>
              </c:strCache>
            </c:strRef>
          </c:cat>
          <c:val>
            <c:numRef>
              <c:f>Sheet1!$D$2:$D$6</c:f>
              <c:numCache>
                <c:formatCode>General</c:formatCode>
                <c:ptCount val="5"/>
                <c:pt idx="0">
                  <c:v>1288.42</c:v>
                </c:pt>
                <c:pt idx="2">
                  <c:v>1722.13</c:v>
                </c:pt>
                <c:pt idx="3">
                  <c:v>143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
                </c:pt>
                <c:pt idx="2">
                  <c:v/>
                </c:pt>
                <c:pt idx="3">
                  <c:v/>
                </c:pt>
                <c:pt idx="4">
                  <c:v/>
                </c:pt>
              </c:strCache>
            </c:strRef>
          </c:cat>
          <c:val>
            <c:numRef>
              <c:f>Sheet1!$E$2:$E$6</c:f>
              <c:numCache>
                <c:formatCode>General</c:formatCode>
                <c:ptCount val="5"/>
                <c:pt idx="0">
                  <c:v>2050.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50.8962"/>
          <c:min val="583.59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B$2:$B$6</c:f>
              <c:numCache>
                <c:formatCode>General</c:formatCode>
                <c:ptCount val="5"/>
                <c:pt idx="0">
                  <c:v>1301.42</c:v>
                </c:pt>
                <c:pt idx="1">
                  <c:v>667.13</c:v>
                </c:pt>
                <c:pt idx="2">
                  <c:v>1722.99</c:v>
                </c:pt>
                <c:pt idx="3">
                  <c:v>1435.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5</a:t>
                    </a:r>
                  </a:p>
                  <a:p>
                    <a:r>
                      <a:t>584.88</a:t>
                    </a:r>
                  </a:p>
                </c:rich>
              </c:tx>
              <c:dLblPos val="l"/>
              <c:showLegendKey val="0"/>
              <c:showVal val="1"/>
              <c:showCatName val="0"/>
              <c:showSerName val="0"/>
              <c:showPercent val="0"/>
              <c:showBubbleSize val="0"/>
            </c:dLbl>
            <c:dLbl>
              <c:idx val="1"/>
              <c:tx>
                <c:rich>
                  <a:bodyPr/>
                  <a:lstStyle/>
                  <a:p>
                    <a:r>
                      <a:t>IX 100</a:t>
                    </a:r>
                  </a:p>
                  <a:p>
                    <a:r>
                      <a:t>1081.1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94</a:t>
                    </a:r>
                  </a:p>
                  <a:p>
                    <a:r>
                      <a:t>1350.3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C$2:$C$6</c:f>
              <c:numCache>
                <c:formatCode>General</c:formatCode>
                <c:ptCount val="5"/>
                <c:pt idx="0">
                  <c:v>584.88</c:v>
                </c:pt>
                <c:pt idx="1">
                  <c:v>1081.11</c:v>
                </c:pt>
                <c:pt idx="3">
                  <c:v>1350.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D$2:$D$6</c:f>
              <c:numCache>
                <c:formatCode>General</c:formatCode>
                <c:ptCount val="5"/>
                <c:pt idx="0">
                  <c:v>1288.42</c:v>
                </c:pt>
                <c:pt idx="2">
                  <c:v>1722.13</c:v>
                </c:pt>
                <c:pt idx="3">
                  <c:v>143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E$2:$E$6</c:f>
              <c:numCache>
                <c:formatCode>General</c:formatCode>
                <c:ptCount val="5"/>
                <c:pt idx="0">
                  <c:v>2050.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100</c:v>
                </c:pt>
                <c:pt idx="2">
                  <c:v/>
                </c:pt>
                <c:pt idx="3">
                  <c:v>IX 94</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50.8962"/>
          <c:min val="584.38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
                </c:pt>
                <c:pt idx="4">
                  <c:v>IX 100</c:v>
                </c:pt>
              </c:strCache>
            </c:strRef>
          </c:cat>
          <c:val>
            <c:numRef>
              <c:f>Sheet1!$B$2:$B$6</c:f>
              <c:numCache>
                <c:formatCode>General</c:formatCode>
                <c:ptCount val="5"/>
                <c:pt idx="0">
                  <c:v>2212.34</c:v>
                </c:pt>
                <c:pt idx="1">
                  <c:v>1375.45</c:v>
                </c:pt>
                <c:pt idx="2">
                  <c:v>2170.78</c:v>
                </c:pt>
                <c:pt idx="3">
                  <c:v>10595.32</c:v>
                </c:pt>
                <c:pt idx="4">
                  <c:v>1425.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8</a:t>
                    </a:r>
                  </a:p>
                  <a:p>
                    <a:r>
                      <a:t>1164.23</a:t>
                    </a:r>
                  </a:p>
                </c:rich>
              </c:tx>
              <c:dLblPos val="l"/>
              <c:showLegendKey val="0"/>
              <c:showVal val="1"/>
              <c:showCatName val="0"/>
              <c:showSerName val="0"/>
              <c:showPercent val="0"/>
              <c:showBubbleSize val="0"/>
            </c:dLbl>
            <c:dLbl>
              <c:idx val="1"/>
              <c:tx>
                <c:rich>
                  <a:bodyPr/>
                  <a:lstStyle/>
                  <a:p>
                    <a:r>
                      <a:t>IX 100</a:t>
                    </a:r>
                  </a:p>
                  <a:p>
                    <a:r>
                      <a:t>1163.9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292.0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
                </c:pt>
                <c:pt idx="4">
                  <c:v>IX 100</c:v>
                </c:pt>
              </c:strCache>
            </c:strRef>
          </c:cat>
          <c:val>
            <c:numRef>
              <c:f>Sheet1!$C$2:$C$6</c:f>
              <c:numCache>
                <c:formatCode>General</c:formatCode>
                <c:ptCount val="5"/>
                <c:pt idx="0">
                  <c:v>1164.23</c:v>
                </c:pt>
                <c:pt idx="1">
                  <c:v>1163.93</c:v>
                </c:pt>
                <c:pt idx="4">
                  <c:v>1292.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
                </c:pt>
                <c:pt idx="4">
                  <c:v>IX 100</c:v>
                </c:pt>
              </c:strCache>
            </c:strRef>
          </c:cat>
          <c:val>
            <c:numRef>
              <c:f>Sheet1!$D$2:$D$6</c:f>
              <c:numCache>
                <c:formatCode>General</c:formatCode>
                <c:ptCount val="5"/>
                <c:pt idx="0">
                  <c:v>2424.99</c:v>
                </c:pt>
                <c:pt idx="1">
                  <c:v>1319.44</c:v>
                </c:pt>
                <c:pt idx="2">
                  <c:v>1312.87</c:v>
                </c:pt>
                <c:pt idx="3">
                  <c:v>5933.59</c:v>
                </c:pt>
                <c:pt idx="4">
                  <c:v>1421.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
                </c:pt>
                <c:pt idx="4">
                  <c:v>IX 100</c:v>
                </c:pt>
              </c:strCache>
            </c:strRef>
          </c:cat>
          <c:val>
            <c:numRef>
              <c:f>Sheet1!$E$2:$E$6</c:f>
              <c:numCache>
                <c:formatCode>General</c:formatCode>
                <c:ptCount val="5"/>
                <c:pt idx="0">
                  <c:v>11431.4</c:v>
                </c:pt>
                <c:pt idx="1">
                  <c:v>14310.04</c:v>
                </c:pt>
                <c:pt idx="2">
                  <c:v>2471.76</c:v>
                </c:pt>
                <c:pt idx="3">
                  <c:v>11712.08</c:v>
                </c:pt>
                <c:pt idx="4">
                  <c:v>5825.4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
                </c:pt>
                <c:pt idx="4">
                  <c:v>IX 100</c:v>
                </c:pt>
              </c:strCache>
            </c:strRef>
          </c:cat>
          <c:val>
            <c:numRef>
              <c:f>Sheet1!$F$2:$F$6</c:f>
              <c:numCache>
                <c:formatCode>General</c:formatCode>
                <c:ptCount val="5"/>
                <c:pt idx="0">
                  <c:v>11418.72</c:v>
                </c:pt>
                <c:pt idx="1">
                  <c:v>11746.87</c:v>
                </c:pt>
                <c:pt idx="2">
                  <c:v>11049.69</c:v>
                </c:pt>
                <c:pt idx="3">
                  <c:v>10912.8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310.5357"/>
          <c:min val="1163.42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IX 86</c:v>
                </c:pt>
                <c:pt idx="2">
                  <c:v/>
                </c:pt>
                <c:pt idx="3">
                  <c:v>IX 54</c:v>
                </c:pt>
                <c:pt idx="4">
                  <c:v>IX 100</c:v>
                </c:pt>
              </c:strCache>
            </c:strRef>
          </c:cat>
          <c:val>
            <c:numRef>
              <c:f>Sheet1!$B$2:$B$6</c:f>
              <c:numCache>
                <c:formatCode>General</c:formatCode>
                <c:ptCount val="5"/>
                <c:pt idx="0">
                  <c:v>2212.34</c:v>
                </c:pt>
                <c:pt idx="1">
                  <c:v>1375.45</c:v>
                </c:pt>
                <c:pt idx="2">
                  <c:v>2170.78</c:v>
                </c:pt>
                <c:pt idx="3">
                  <c:v>10595.32</c:v>
                </c:pt>
                <c:pt idx="4">
                  <c:v>1425.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2</a:t>
                    </a:r>
                  </a:p>
                  <a:p>
                    <a:r>
                      <a:t>1025.98</a:t>
                    </a:r>
                  </a:p>
                </c:rich>
              </c:tx>
              <c:dLblPos val="l"/>
              <c:showLegendKey val="0"/>
              <c:showVal val="1"/>
              <c:showCatName val="0"/>
              <c:showSerName val="0"/>
              <c:showPercent val="0"/>
              <c:showBubbleSize val="0"/>
            </c:dLbl>
            <c:dLbl>
              <c:idx val="1"/>
              <c:tx>
                <c:rich>
                  <a:bodyPr/>
                  <a:lstStyle/>
                  <a:p>
                    <a:r>
                      <a:t>IX 86</a:t>
                    </a:r>
                  </a:p>
                  <a:p>
                    <a:r>
                      <a:t>1137.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54</a:t>
                    </a:r>
                  </a:p>
                  <a:p>
                    <a:r>
                      <a:t>5846.71</a:t>
                    </a:r>
                  </a:p>
                </c:rich>
              </c:tx>
              <c:dLblPos val="l"/>
              <c:showLegendKey val="0"/>
              <c:showVal val="1"/>
              <c:showCatName val="0"/>
              <c:showSerName val="0"/>
              <c:showPercent val="0"/>
              <c:showBubbleSize val="0"/>
            </c:dLbl>
            <c:dLbl>
              <c:idx val="4"/>
              <c:tx>
                <c:rich>
                  <a:bodyPr/>
                  <a:lstStyle/>
                  <a:p>
                    <a:r>
                      <a:t>IX 100</a:t>
                    </a:r>
                  </a:p>
                  <a:p>
                    <a:r>
                      <a:t>1139.4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IX 86</c:v>
                </c:pt>
                <c:pt idx="2">
                  <c:v/>
                </c:pt>
                <c:pt idx="3">
                  <c:v>IX 54</c:v>
                </c:pt>
                <c:pt idx="4">
                  <c:v>IX 100</c:v>
                </c:pt>
              </c:strCache>
            </c:strRef>
          </c:cat>
          <c:val>
            <c:numRef>
              <c:f>Sheet1!$C$2:$C$6</c:f>
              <c:numCache>
                <c:formatCode>General</c:formatCode>
                <c:ptCount val="5"/>
                <c:pt idx="0">
                  <c:v>1025.98</c:v>
                </c:pt>
                <c:pt idx="1">
                  <c:v>1137.7</c:v>
                </c:pt>
                <c:pt idx="3">
                  <c:v>5846.71</c:v>
                </c:pt>
                <c:pt idx="4">
                  <c:v>1139.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IX 86</c:v>
                </c:pt>
                <c:pt idx="2">
                  <c:v/>
                </c:pt>
                <c:pt idx="3">
                  <c:v>IX 54</c:v>
                </c:pt>
                <c:pt idx="4">
                  <c:v>IX 100</c:v>
                </c:pt>
              </c:strCache>
            </c:strRef>
          </c:cat>
          <c:val>
            <c:numRef>
              <c:f>Sheet1!$D$2:$D$6</c:f>
              <c:numCache>
                <c:formatCode>General</c:formatCode>
                <c:ptCount val="5"/>
                <c:pt idx="0">
                  <c:v>2424.99</c:v>
                </c:pt>
                <c:pt idx="1">
                  <c:v>1319.44</c:v>
                </c:pt>
                <c:pt idx="2">
                  <c:v>1312.87</c:v>
                </c:pt>
                <c:pt idx="3">
                  <c:v>5933.59</c:v>
                </c:pt>
                <c:pt idx="4">
                  <c:v>1421.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IX 86</c:v>
                </c:pt>
                <c:pt idx="2">
                  <c:v/>
                </c:pt>
                <c:pt idx="3">
                  <c:v>IX 54</c:v>
                </c:pt>
                <c:pt idx="4">
                  <c:v>IX 100</c:v>
                </c:pt>
              </c:strCache>
            </c:strRef>
          </c:cat>
          <c:val>
            <c:numRef>
              <c:f>Sheet1!$E$2:$E$6</c:f>
              <c:numCache>
                <c:formatCode>General</c:formatCode>
                <c:ptCount val="5"/>
                <c:pt idx="0">
                  <c:v>11431.4</c:v>
                </c:pt>
                <c:pt idx="1">
                  <c:v>14310.04</c:v>
                </c:pt>
                <c:pt idx="2">
                  <c:v>2471.76</c:v>
                </c:pt>
                <c:pt idx="3">
                  <c:v>11712.08</c:v>
                </c:pt>
                <c:pt idx="4">
                  <c:v>5825.4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2</c:v>
                </c:pt>
                <c:pt idx="1">
                  <c:v>IX 86</c:v>
                </c:pt>
                <c:pt idx="2">
                  <c:v/>
                </c:pt>
                <c:pt idx="3">
                  <c:v>IX 54</c:v>
                </c:pt>
                <c:pt idx="4">
                  <c:v>IX 100</c:v>
                </c:pt>
              </c:strCache>
            </c:strRef>
          </c:cat>
          <c:val>
            <c:numRef>
              <c:f>Sheet1!$F$2:$F$6</c:f>
              <c:numCache>
                <c:formatCode>General</c:formatCode>
                <c:ptCount val="5"/>
                <c:pt idx="0">
                  <c:v>11418.72</c:v>
                </c:pt>
                <c:pt idx="1">
                  <c:v>11746.87</c:v>
                </c:pt>
                <c:pt idx="2">
                  <c:v>11049.69</c:v>
                </c:pt>
                <c:pt idx="3">
                  <c:v>10912.8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310.5357"/>
          <c:min val="1025.477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15</c:v>
                </c:pt>
              </c:strCache>
            </c:strRef>
          </c:cat>
          <c:val>
            <c:numRef>
              <c:f>Sheet1!$B$2:$B$5</c:f>
              <c:numCache>
                <c:formatCode>General</c:formatCode>
                <c:ptCount val="4"/>
                <c:pt idx="0">
                  <c:v>1828.63</c:v>
                </c:pt>
                <c:pt idx="1">
                  <c:v>1218.19</c:v>
                </c:pt>
                <c:pt idx="2">
                  <c:v>615.24</c:v>
                </c:pt>
                <c:pt idx="3">
                  <c:v>6086.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89.38</a:t>
                    </a:r>
                  </a:p>
                </c:rich>
              </c:tx>
              <c:dLblPos val="l"/>
              <c:showLegendKey val="0"/>
              <c:showVal val="1"/>
              <c:showCatName val="0"/>
              <c:showSerName val="0"/>
              <c:showPercent val="0"/>
              <c:showBubbleSize val="0"/>
            </c:dLbl>
            <c:dLbl>
              <c:idx val="1"/>
              <c:tx>
                <c:rich>
                  <a:bodyPr/>
                  <a:lstStyle/>
                  <a:p>
                    <a:r>
                      <a:t>IX 100</a:t>
                    </a:r>
                  </a:p>
                  <a:p>
                    <a:r>
                      <a:t>1176.1</a:t>
                    </a:r>
                  </a:p>
                </c:rich>
              </c:tx>
              <c:dLblPos val="l"/>
              <c:showLegendKey val="0"/>
              <c:showVal val="1"/>
              <c:showCatName val="0"/>
              <c:showSerName val="0"/>
              <c:showPercent val="0"/>
              <c:showBubbleSize val="0"/>
            </c:dLbl>
            <c:dLbl>
              <c:idx val="2"/>
              <c:tx>
                <c:rich>
                  <a:bodyPr/>
                  <a:lstStyle/>
                  <a:p>
                    <a:r>
                      <a:t>IX 100</a:t>
                    </a:r>
                  </a:p>
                  <a:p>
                    <a:r>
                      <a:t>577.41</a:t>
                    </a:r>
                  </a:p>
                </c:rich>
              </c:tx>
              <c:dLblPos val="l"/>
              <c:showLegendKey val="0"/>
              <c:showVal val="1"/>
              <c:showCatName val="0"/>
              <c:showSerName val="0"/>
              <c:showPercent val="0"/>
              <c:showBubbleSize val="0"/>
            </c:dLbl>
            <c:dLbl>
              <c:idx val="3"/>
              <c:tx>
                <c:rich>
                  <a:bodyPr/>
                  <a:lstStyle/>
                  <a:p>
                    <a:r>
                      <a:t>IX 15</a:t>
                    </a:r>
                  </a:p>
                  <a:p>
                    <a:r>
                      <a:t>1184.7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15</c:v>
                </c:pt>
              </c:strCache>
            </c:strRef>
          </c:cat>
          <c:val>
            <c:numRef>
              <c:f>Sheet1!$C$2:$C$5</c:f>
              <c:numCache>
                <c:formatCode>General</c:formatCode>
                <c:ptCount val="4"/>
                <c:pt idx="0">
                  <c:v>1389.38</c:v>
                </c:pt>
                <c:pt idx="1">
                  <c:v>1176.1</c:v>
                </c:pt>
                <c:pt idx="2">
                  <c:v>577.41</c:v>
                </c:pt>
                <c:pt idx="3">
                  <c:v>1184.7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15</c:v>
                </c:pt>
              </c:strCache>
            </c:strRef>
          </c:cat>
          <c:val>
            <c:numRef>
              <c:f>Sheet1!$D$2:$D$5</c:f>
              <c:numCache>
                <c:formatCode>General</c:formatCode>
                <c:ptCount val="4"/>
                <c:pt idx="0">
                  <c:v>2015.19</c:v>
                </c:pt>
                <c:pt idx="1">
                  <c:v>1377.86</c:v>
                </c:pt>
                <c:pt idx="2">
                  <c:v>599.46</c:v>
                </c:pt>
                <c:pt idx="3">
                  <c:v>6443.6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15</c:v>
                </c:pt>
              </c:strCache>
            </c:strRef>
          </c:cat>
          <c:val>
            <c:numRef>
              <c:f>Sheet1!$E$2:$E$5</c:f>
              <c:numCache>
                <c:formatCode>General</c:formatCode>
                <c:ptCount val="4"/>
                <c:pt idx="0">
                  <c:v>7634.6</c:v>
                </c:pt>
                <c:pt idx="1">
                  <c:v>4920.77</c:v>
                </c:pt>
                <c:pt idx="2">
                  <c:v>6272.33</c:v>
                </c:pt>
                <c:pt idx="3">
                  <c:v>8065.8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15</c:v>
                </c:pt>
              </c:strCache>
            </c:strRef>
          </c:cat>
          <c:val>
            <c:numRef>
              <c:f>Sheet1!$F$2:$F$5</c:f>
              <c:numCache>
                <c:formatCode>General</c:formatCode>
                <c:ptCount val="4"/>
                <c:pt idx="0">
                  <c:v>7386.88</c:v>
                </c:pt>
                <c:pt idx="3">
                  <c:v>10424.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25.117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B$2:$B$6</c:f>
              <c:numCache>
                <c:formatCode>General</c:formatCode>
                <c:ptCount val="5"/>
                <c:pt idx="0">
                  <c:v>2212.34</c:v>
                </c:pt>
                <c:pt idx="1">
                  <c:v>1375.45</c:v>
                </c:pt>
                <c:pt idx="2">
                  <c:v>2170.78</c:v>
                </c:pt>
                <c:pt idx="3">
                  <c:v>10595.32</c:v>
                </c:pt>
                <c:pt idx="4">
                  <c:v>1425.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24</a:t>
                    </a:r>
                  </a:p>
                  <a:p>
                    <a:r>
                      <a:t>4279.4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C$2:$C$6</c:f>
              <c:numCache>
                <c:formatCode>General</c:formatCode>
                <c:ptCount val="5"/>
                <c:pt idx="1">
                  <c:v>4279.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D$2:$D$6</c:f>
              <c:numCache>
                <c:formatCode>General</c:formatCode>
                <c:ptCount val="5"/>
                <c:pt idx="0">
                  <c:v>2424.99</c:v>
                </c:pt>
                <c:pt idx="1">
                  <c:v>1319.44</c:v>
                </c:pt>
                <c:pt idx="2">
                  <c:v>1312.87</c:v>
                </c:pt>
                <c:pt idx="3">
                  <c:v>5933.59</c:v>
                </c:pt>
                <c:pt idx="4">
                  <c:v>1421.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E$2:$E$6</c:f>
              <c:numCache>
                <c:formatCode>General</c:formatCode>
                <c:ptCount val="5"/>
                <c:pt idx="0">
                  <c:v>11431.4</c:v>
                </c:pt>
                <c:pt idx="1">
                  <c:v>14310.04</c:v>
                </c:pt>
                <c:pt idx="2">
                  <c:v>2471.76</c:v>
                </c:pt>
                <c:pt idx="3">
                  <c:v>11712.08</c:v>
                </c:pt>
                <c:pt idx="4">
                  <c:v>5825.4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F$2:$F$6</c:f>
              <c:numCache>
                <c:formatCode>General</c:formatCode>
                <c:ptCount val="5"/>
                <c:pt idx="0">
                  <c:v>11418.72</c:v>
                </c:pt>
                <c:pt idx="1">
                  <c:v>11746.87</c:v>
                </c:pt>
                <c:pt idx="2">
                  <c:v>11049.69</c:v>
                </c:pt>
                <c:pt idx="3">
                  <c:v>10912.8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310.5357"/>
          <c:min val="1312.37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12416.1</c:v>
                </c:pt>
                <c:pt idx="1">
                  <c:v>1182.47</c:v>
                </c:pt>
                <c:pt idx="2">
                  <c:v>10291.54</c:v>
                </c:pt>
                <c:pt idx="3">
                  <c:v>2254.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932.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932.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1241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2">
                  <c:v>10291.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416.6034"/>
          <c:min val="931.51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B$2:$B$6</c:f>
              <c:numCache>
                <c:formatCode>General</c:formatCode>
                <c:ptCount val="5"/>
                <c:pt idx="0">
                  <c:v>12416.1</c:v>
                </c:pt>
                <c:pt idx="1">
                  <c:v>1182.47</c:v>
                </c:pt>
                <c:pt idx="2">
                  <c:v>10291.54</c:v>
                </c:pt>
                <c:pt idx="3">
                  <c:v>2254.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2254.3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C$2:$C$6</c:f>
              <c:numCache>
                <c:formatCode>General</c:formatCode>
                <c:ptCount val="5"/>
                <c:pt idx="3">
                  <c:v>2254.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D$2:$D$6</c:f>
              <c:numCache>
                <c:formatCode>General</c:formatCode>
                <c:ptCount val="5"/>
                <c:pt idx="0">
                  <c:v>1241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E$2:$E$6</c:f>
              <c:numCache>
                <c:formatCode>General</c:formatCode>
                <c:ptCount val="5"/>
                <c:pt idx="2">
                  <c:v>10291.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416.6034"/>
          <c:min val="1181.966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B$2:$B$6</c:f>
              <c:numCache>
                <c:formatCode>General</c:formatCode>
                <c:ptCount val="5"/>
                <c:pt idx="0">
                  <c:v>717.41</c:v>
                </c:pt>
                <c:pt idx="1">
                  <c:v>1401.01</c:v>
                </c:pt>
                <c:pt idx="2">
                  <c:v>1723.57</c:v>
                </c:pt>
                <c:pt idx="3">
                  <c:v>1487.19</c:v>
                </c:pt>
                <c:pt idx="4">
                  <c:v>2001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5</a:t>
                    </a:r>
                  </a:p>
                  <a:p>
                    <a:r>
                      <a:t>720.6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C$2:$C$6</c:f>
              <c:numCache>
                <c:formatCode>General</c:formatCode>
                <c:ptCount val="5"/>
                <c:pt idx="1">
                  <c:v>720.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D$2:$D$6</c:f>
              <c:numCache>
                <c:formatCode>General</c:formatCode>
                <c:ptCount val="5"/>
                <c:pt idx="1">
                  <c:v>1301.0</c:v>
                </c:pt>
                <c:pt idx="2">
                  <c:v>1719.97</c:v>
                </c:pt>
                <c:pt idx="3">
                  <c:v>1473.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F$2:$F$6</c:f>
              <c:numCache>
                <c:formatCode>General</c:formatCode>
                <c:ptCount val="5"/>
                <c:pt idx="1">
                  <c:v>1881.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11.5"/>
          <c:min val="716.90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96</c:v>
                </c:pt>
                <c:pt idx="2">
                  <c:v/>
                </c:pt>
                <c:pt idx="3">
                  <c:v>IX 153</c:v>
                </c:pt>
                <c:pt idx="4">
                  <c:v/>
                </c:pt>
              </c:strCache>
            </c:strRef>
          </c:cat>
          <c:val>
            <c:numRef>
              <c:f>Sheet1!$B$2:$B$6</c:f>
              <c:numCache>
                <c:formatCode>General</c:formatCode>
                <c:ptCount val="5"/>
                <c:pt idx="0">
                  <c:v>717.41</c:v>
                </c:pt>
                <c:pt idx="1">
                  <c:v>1401.01</c:v>
                </c:pt>
                <c:pt idx="2">
                  <c:v>1723.57</c:v>
                </c:pt>
                <c:pt idx="3">
                  <c:v>1487.19</c:v>
                </c:pt>
                <c:pt idx="4">
                  <c:v>2001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45.9</a:t>
                    </a:r>
                  </a:p>
                </c:rich>
              </c:tx>
              <c:dLblPos val="l"/>
              <c:showLegendKey val="0"/>
              <c:showVal val="1"/>
              <c:showCatName val="0"/>
              <c:showSerName val="0"/>
              <c:showPercent val="0"/>
              <c:showBubbleSize val="0"/>
            </c:dLbl>
            <c:dLbl>
              <c:idx val="1"/>
              <c:tx>
                <c:rich>
                  <a:bodyPr/>
                  <a:lstStyle/>
                  <a:p>
                    <a:r>
                      <a:t>IX 196</a:t>
                    </a:r>
                  </a:p>
                  <a:p>
                    <a:r>
                      <a:t>2552.0</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53</a:t>
                    </a:r>
                  </a:p>
                  <a:p>
                    <a:r>
                      <a:t>2259.0</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96</c:v>
                </c:pt>
                <c:pt idx="2">
                  <c:v/>
                </c:pt>
                <c:pt idx="3">
                  <c:v>IX 153</c:v>
                </c:pt>
                <c:pt idx="4">
                  <c:v/>
                </c:pt>
              </c:strCache>
            </c:strRef>
          </c:cat>
          <c:val>
            <c:numRef>
              <c:f>Sheet1!$C$2:$C$6</c:f>
              <c:numCache>
                <c:formatCode>General</c:formatCode>
                <c:ptCount val="5"/>
                <c:pt idx="0">
                  <c:v>1045.9</c:v>
                </c:pt>
                <c:pt idx="1">
                  <c:v>2552.0</c:v>
                </c:pt>
                <c:pt idx="3">
                  <c:v>2259.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96</c:v>
                </c:pt>
                <c:pt idx="2">
                  <c:v/>
                </c:pt>
                <c:pt idx="3">
                  <c:v>IX 153</c:v>
                </c:pt>
                <c:pt idx="4">
                  <c:v/>
                </c:pt>
              </c:strCache>
            </c:strRef>
          </c:cat>
          <c:val>
            <c:numRef>
              <c:f>Sheet1!$D$2:$D$6</c:f>
              <c:numCache>
                <c:formatCode>General</c:formatCode>
                <c:ptCount val="5"/>
                <c:pt idx="1">
                  <c:v>1301.0</c:v>
                </c:pt>
                <c:pt idx="2">
                  <c:v>1719.97</c:v>
                </c:pt>
                <c:pt idx="3">
                  <c:v>1473.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96</c:v>
                </c:pt>
                <c:pt idx="2">
                  <c:v/>
                </c:pt>
                <c:pt idx="3">
                  <c:v>IX 153</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96</c:v>
                </c:pt>
                <c:pt idx="2">
                  <c:v/>
                </c:pt>
                <c:pt idx="3">
                  <c:v>IX 153</c:v>
                </c:pt>
                <c:pt idx="4">
                  <c:v/>
                </c:pt>
              </c:strCache>
            </c:strRef>
          </c:cat>
          <c:val>
            <c:numRef>
              <c:f>Sheet1!$F$2:$F$6</c:f>
              <c:numCache>
                <c:formatCode>General</c:formatCode>
                <c:ptCount val="5"/>
                <c:pt idx="1">
                  <c:v>1881.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11.5"/>
          <c:min val="716.90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IX 86</c:v>
                </c:pt>
                <c:pt idx="2">
                  <c:v>IX 96</c:v>
                </c:pt>
                <c:pt idx="3">
                  <c:v/>
                </c:pt>
                <c:pt idx="4">
                  <c:v/>
                </c:pt>
              </c:strCache>
            </c:strRef>
          </c:cat>
          <c:val>
            <c:numRef>
              <c:f>Sheet1!$B$2:$B$6</c:f>
              <c:numCache>
                <c:formatCode>General</c:formatCode>
                <c:ptCount val="5"/>
                <c:pt idx="0">
                  <c:v>1439.95</c:v>
                </c:pt>
                <c:pt idx="1">
                  <c:v>1309.09</c:v>
                </c:pt>
                <c:pt idx="2">
                  <c:v>1364.75</c:v>
                </c:pt>
                <c:pt idx="3">
                  <c:v>1360.65</c:v>
                </c:pt>
                <c:pt idx="4">
                  <c:v>8795.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1138.35</a:t>
                    </a:r>
                  </a:p>
                </c:rich>
              </c:tx>
              <c:dLblPos val="l"/>
              <c:showLegendKey val="0"/>
              <c:showVal val="1"/>
              <c:showCatName val="0"/>
              <c:showSerName val="0"/>
              <c:showPercent val="0"/>
              <c:showBubbleSize val="0"/>
            </c:dLbl>
            <c:dLbl>
              <c:idx val="1"/>
              <c:tx>
                <c:rich>
                  <a:bodyPr/>
                  <a:lstStyle/>
                  <a:p>
                    <a:r>
                      <a:t>IX 86</a:t>
                    </a:r>
                  </a:p>
                  <a:p>
                    <a:r>
                      <a:t>1135.47</a:t>
                    </a:r>
                  </a:p>
                </c:rich>
              </c:tx>
              <c:dLblPos val="l"/>
              <c:showLegendKey val="0"/>
              <c:showVal val="1"/>
              <c:showCatName val="0"/>
              <c:showSerName val="0"/>
              <c:showPercent val="0"/>
              <c:showBubbleSize val="0"/>
            </c:dLbl>
            <c:dLbl>
              <c:idx val="2"/>
              <c:tx>
                <c:rich>
                  <a:bodyPr/>
                  <a:lstStyle/>
                  <a:p>
                    <a:r>
                      <a:t>IX 96</a:t>
                    </a:r>
                  </a:p>
                  <a:p>
                    <a:r>
                      <a:t>1367.3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IX 86</c:v>
                </c:pt>
                <c:pt idx="2">
                  <c:v>IX 96</c:v>
                </c:pt>
                <c:pt idx="3">
                  <c:v/>
                </c:pt>
                <c:pt idx="4">
                  <c:v/>
                </c:pt>
              </c:strCache>
            </c:strRef>
          </c:cat>
          <c:val>
            <c:numRef>
              <c:f>Sheet1!$C$2:$C$6</c:f>
              <c:numCache>
                <c:formatCode>General</c:formatCode>
                <c:ptCount val="5"/>
                <c:pt idx="0">
                  <c:v>1138.35</c:v>
                </c:pt>
                <c:pt idx="1">
                  <c:v>1135.47</c:v>
                </c:pt>
                <c:pt idx="2">
                  <c:v>1367.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IX 86</c:v>
                </c:pt>
                <c:pt idx="2">
                  <c:v>IX 96</c:v>
                </c:pt>
                <c:pt idx="3">
                  <c:v/>
                </c:pt>
                <c:pt idx="4">
                  <c:v/>
                </c:pt>
              </c:strCache>
            </c:strRef>
          </c:cat>
          <c:val>
            <c:numRef>
              <c:f>Sheet1!$D$2:$D$6</c:f>
              <c:numCache>
                <c:formatCode>General</c:formatCode>
                <c:ptCount val="5"/>
                <c:pt idx="0">
                  <c:v>2106.95</c:v>
                </c:pt>
                <c:pt idx="1">
                  <c:v>1313.07</c:v>
                </c:pt>
                <c:pt idx="2">
                  <c:v>1423.81</c:v>
                </c:pt>
                <c:pt idx="3">
                  <c:v>1264.62</c:v>
                </c:pt>
                <c:pt idx="4">
                  <c:v>6297.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IX 86</c:v>
                </c:pt>
                <c:pt idx="2">
                  <c:v>IX 96</c:v>
                </c:pt>
                <c:pt idx="3">
                  <c:v/>
                </c:pt>
                <c:pt idx="4">
                  <c:v/>
                </c:pt>
              </c:strCache>
            </c:strRef>
          </c:cat>
          <c:val>
            <c:numRef>
              <c:f>Sheet1!$E$2:$E$6</c:f>
              <c:numCache>
                <c:formatCode>General</c:formatCode>
                <c:ptCount val="5"/>
                <c:pt idx="0">
                  <c:v>4910.4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IX 86</c:v>
                </c:pt>
                <c:pt idx="2">
                  <c:v>IX 96</c:v>
                </c:pt>
                <c:pt idx="3">
                  <c:v/>
                </c:pt>
                <c:pt idx="4">
                  <c:v/>
                </c:pt>
              </c:strCache>
            </c:strRef>
          </c:cat>
          <c:val>
            <c:numRef>
              <c:f>Sheet1!$F$2:$F$6</c:f>
              <c:numCache>
                <c:formatCode>General</c:formatCode>
                <c:ptCount val="5"/>
                <c:pt idx="0">
                  <c:v>11331.12</c:v>
                </c:pt>
                <c:pt idx="1">
                  <c:v>3143.95</c:v>
                </c:pt>
                <c:pt idx="2">
                  <c:v>7192.8</c:v>
                </c:pt>
                <c:pt idx="3">
                  <c:v>10384.49</c:v>
                </c:pt>
                <c:pt idx="4">
                  <c:v>1302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026.4048"/>
          <c:min val="1134.96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86</c:v>
                </c:pt>
                <c:pt idx="2">
                  <c:v>IX 88</c:v>
                </c:pt>
                <c:pt idx="3">
                  <c:v/>
                </c:pt>
                <c:pt idx="4">
                  <c:v>IX 88</c:v>
                </c:pt>
              </c:strCache>
            </c:strRef>
          </c:cat>
          <c:val>
            <c:numRef>
              <c:f>Sheet1!$B$2:$B$6</c:f>
              <c:numCache>
                <c:formatCode>General</c:formatCode>
                <c:ptCount val="5"/>
                <c:pt idx="0">
                  <c:v>1439.95</c:v>
                </c:pt>
                <c:pt idx="1">
                  <c:v>1309.09</c:v>
                </c:pt>
                <c:pt idx="2">
                  <c:v>1364.75</c:v>
                </c:pt>
                <c:pt idx="3">
                  <c:v>1360.65</c:v>
                </c:pt>
                <c:pt idx="4">
                  <c:v>8795.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0</a:t>
                    </a:r>
                  </a:p>
                  <a:p>
                    <a:r>
                      <a:t>1053.4</a:t>
                    </a:r>
                  </a:p>
                </c:rich>
              </c:tx>
              <c:dLblPos val="l"/>
              <c:showLegendKey val="0"/>
              <c:showVal val="1"/>
              <c:showCatName val="0"/>
              <c:showSerName val="0"/>
              <c:showPercent val="0"/>
              <c:showBubbleSize val="0"/>
            </c:dLbl>
            <c:dLbl>
              <c:idx val="1"/>
              <c:tx>
                <c:rich>
                  <a:bodyPr/>
                  <a:lstStyle/>
                  <a:p>
                    <a:r>
                      <a:t>IX 86</a:t>
                    </a:r>
                  </a:p>
                  <a:p>
                    <a:r>
                      <a:t>1131.81</a:t>
                    </a:r>
                  </a:p>
                </c:rich>
              </c:tx>
              <c:dLblPos val="l"/>
              <c:showLegendKey val="0"/>
              <c:showVal val="1"/>
              <c:showCatName val="0"/>
              <c:showSerName val="0"/>
              <c:showPercent val="0"/>
              <c:showBubbleSize val="0"/>
            </c:dLbl>
            <c:dLbl>
              <c:idx val="2"/>
              <c:tx>
                <c:rich>
                  <a:bodyPr/>
                  <a:lstStyle/>
                  <a:p>
                    <a:r>
                      <a:t>IX 88</a:t>
                    </a:r>
                  </a:p>
                  <a:p>
                    <a:r>
                      <a:t>1251.8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8</a:t>
                    </a:r>
                  </a:p>
                  <a:p>
                    <a:r>
                      <a:t>5512.0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86</c:v>
                </c:pt>
                <c:pt idx="2">
                  <c:v>IX 88</c:v>
                </c:pt>
                <c:pt idx="3">
                  <c:v/>
                </c:pt>
                <c:pt idx="4">
                  <c:v>IX 88</c:v>
                </c:pt>
              </c:strCache>
            </c:strRef>
          </c:cat>
          <c:val>
            <c:numRef>
              <c:f>Sheet1!$C$2:$C$6</c:f>
              <c:numCache>
                <c:formatCode>General</c:formatCode>
                <c:ptCount val="5"/>
                <c:pt idx="0">
                  <c:v>1053.4</c:v>
                </c:pt>
                <c:pt idx="1">
                  <c:v>1131.81</c:v>
                </c:pt>
                <c:pt idx="2">
                  <c:v>1251.85</c:v>
                </c:pt>
                <c:pt idx="4">
                  <c:v>5512.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86</c:v>
                </c:pt>
                <c:pt idx="2">
                  <c:v>IX 88</c:v>
                </c:pt>
                <c:pt idx="3">
                  <c:v/>
                </c:pt>
                <c:pt idx="4">
                  <c:v>IX 88</c:v>
                </c:pt>
              </c:strCache>
            </c:strRef>
          </c:cat>
          <c:val>
            <c:numRef>
              <c:f>Sheet1!$D$2:$D$6</c:f>
              <c:numCache>
                <c:formatCode>General</c:formatCode>
                <c:ptCount val="5"/>
                <c:pt idx="0">
                  <c:v>2106.95</c:v>
                </c:pt>
                <c:pt idx="1">
                  <c:v>1313.07</c:v>
                </c:pt>
                <c:pt idx="2">
                  <c:v>1423.81</c:v>
                </c:pt>
                <c:pt idx="3">
                  <c:v>1264.62</c:v>
                </c:pt>
                <c:pt idx="4">
                  <c:v>6297.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86</c:v>
                </c:pt>
                <c:pt idx="2">
                  <c:v>IX 88</c:v>
                </c:pt>
                <c:pt idx="3">
                  <c:v/>
                </c:pt>
                <c:pt idx="4">
                  <c:v>IX 88</c:v>
                </c:pt>
              </c:strCache>
            </c:strRef>
          </c:cat>
          <c:val>
            <c:numRef>
              <c:f>Sheet1!$E$2:$E$6</c:f>
              <c:numCache>
                <c:formatCode>General</c:formatCode>
                <c:ptCount val="5"/>
                <c:pt idx="0">
                  <c:v>4910.4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0</c:v>
                </c:pt>
                <c:pt idx="1">
                  <c:v>IX 86</c:v>
                </c:pt>
                <c:pt idx="2">
                  <c:v>IX 88</c:v>
                </c:pt>
                <c:pt idx="3">
                  <c:v/>
                </c:pt>
                <c:pt idx="4">
                  <c:v>IX 88</c:v>
                </c:pt>
              </c:strCache>
            </c:strRef>
          </c:cat>
          <c:val>
            <c:numRef>
              <c:f>Sheet1!$F$2:$F$6</c:f>
              <c:numCache>
                <c:formatCode>General</c:formatCode>
                <c:ptCount val="5"/>
                <c:pt idx="0">
                  <c:v>11331.12</c:v>
                </c:pt>
                <c:pt idx="1">
                  <c:v>3143.95</c:v>
                </c:pt>
                <c:pt idx="2">
                  <c:v>7192.8</c:v>
                </c:pt>
                <c:pt idx="3">
                  <c:v>10384.49</c:v>
                </c:pt>
                <c:pt idx="4">
                  <c:v>1302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026.4048"/>
          <c:min val="1052.90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236</c:v>
                </c:pt>
                <c:pt idx="2">
                  <c:v/>
                </c:pt>
                <c:pt idx="3">
                  <c:v/>
                </c:pt>
                <c:pt idx="4">
                  <c:v/>
                </c:pt>
              </c:strCache>
            </c:strRef>
          </c:cat>
          <c:val>
            <c:numRef>
              <c:f>Sheet1!$B$2:$B$6</c:f>
              <c:numCache>
                <c:formatCode>General</c:formatCode>
                <c:ptCount val="5"/>
                <c:pt idx="0">
                  <c:v>1439.95</c:v>
                </c:pt>
                <c:pt idx="1">
                  <c:v>1309.09</c:v>
                </c:pt>
                <c:pt idx="2">
                  <c:v>1364.75</c:v>
                </c:pt>
                <c:pt idx="3">
                  <c:v>1360.65</c:v>
                </c:pt>
                <c:pt idx="4">
                  <c:v>8795.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36</a:t>
                    </a:r>
                  </a:p>
                  <a:p>
                    <a:r>
                      <a:t>3103.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236</c:v>
                </c:pt>
                <c:pt idx="2">
                  <c:v/>
                </c:pt>
                <c:pt idx="3">
                  <c:v/>
                </c:pt>
                <c:pt idx="4">
                  <c:v/>
                </c:pt>
              </c:strCache>
            </c:strRef>
          </c:cat>
          <c:val>
            <c:numRef>
              <c:f>Sheet1!$C$2:$C$6</c:f>
              <c:numCache>
                <c:formatCode>General</c:formatCode>
                <c:ptCount val="5"/>
                <c:pt idx="1">
                  <c:v>3103.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236</c:v>
                </c:pt>
                <c:pt idx="2">
                  <c:v/>
                </c:pt>
                <c:pt idx="3">
                  <c:v/>
                </c:pt>
                <c:pt idx="4">
                  <c:v/>
                </c:pt>
              </c:strCache>
            </c:strRef>
          </c:cat>
          <c:val>
            <c:numRef>
              <c:f>Sheet1!$D$2:$D$6</c:f>
              <c:numCache>
                <c:formatCode>General</c:formatCode>
                <c:ptCount val="5"/>
                <c:pt idx="0">
                  <c:v>2106.95</c:v>
                </c:pt>
                <c:pt idx="1">
                  <c:v>1313.07</c:v>
                </c:pt>
                <c:pt idx="2">
                  <c:v>1423.81</c:v>
                </c:pt>
                <c:pt idx="3">
                  <c:v>1264.62</c:v>
                </c:pt>
                <c:pt idx="4">
                  <c:v>6297.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236</c:v>
                </c:pt>
                <c:pt idx="2">
                  <c:v/>
                </c:pt>
                <c:pt idx="3">
                  <c:v/>
                </c:pt>
                <c:pt idx="4">
                  <c:v/>
                </c:pt>
              </c:strCache>
            </c:strRef>
          </c:cat>
          <c:val>
            <c:numRef>
              <c:f>Sheet1!$E$2:$E$6</c:f>
              <c:numCache>
                <c:formatCode>General</c:formatCode>
                <c:ptCount val="5"/>
                <c:pt idx="0">
                  <c:v>4910.4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236</c:v>
                </c:pt>
                <c:pt idx="2">
                  <c:v/>
                </c:pt>
                <c:pt idx="3">
                  <c:v/>
                </c:pt>
                <c:pt idx="4">
                  <c:v/>
                </c:pt>
              </c:strCache>
            </c:strRef>
          </c:cat>
          <c:val>
            <c:numRef>
              <c:f>Sheet1!$F$2:$F$6</c:f>
              <c:numCache>
                <c:formatCode>General</c:formatCode>
                <c:ptCount val="5"/>
                <c:pt idx="0">
                  <c:v>11331.12</c:v>
                </c:pt>
                <c:pt idx="1">
                  <c:v>3143.95</c:v>
                </c:pt>
                <c:pt idx="2">
                  <c:v>7192.8</c:v>
                </c:pt>
                <c:pt idx="3">
                  <c:v>10384.49</c:v>
                </c:pt>
                <c:pt idx="4">
                  <c:v>1302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026.4048"/>
          <c:min val="1264.12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
                </c:pt>
              </c:strCache>
            </c:strRef>
          </c:cat>
          <c:val>
            <c:numRef>
              <c:f>Sheet1!$B$2:$B$5</c:f>
              <c:numCache>
                <c:formatCode>General</c:formatCode>
                <c:ptCount val="4"/>
                <c:pt idx="0">
                  <c:v>125259.0</c:v>
                </c:pt>
                <c:pt idx="1">
                  <c:v>1014.47</c:v>
                </c:pt>
                <c:pt idx="2">
                  <c:v>1499.1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0</a:t>
                    </a:r>
                  </a:p>
                  <a:p>
                    <a:r>
                      <a:t>None</a:t>
                    </a:r>
                  </a:p>
                </c:rich>
              </c:tx>
              <c:dLblPos val="l"/>
              <c:showLegendKey val="0"/>
              <c:showVal val="1"/>
              <c:showCatName val="0"/>
              <c:showSerName val="0"/>
              <c:showPercent val="0"/>
              <c:showBubbleSize val="0"/>
            </c:dLbl>
            <c:dLbl>
              <c:idx val="2"/>
              <c:tx>
                <c:rich>
                  <a:bodyPr/>
                  <a:lstStyle/>
                  <a:p>
                    <a:r>
                      <a:t>IX 100</a:t>
                    </a:r>
                  </a:p>
                  <a:p>
                    <a:r>
                      <a:t>1160.3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
                </c:pt>
              </c:strCache>
            </c:strRef>
          </c:cat>
          <c:val>
            <c:numRef>
              <c:f>Sheet1!$C$2:$C$5</c:f>
              <c:numCache>
                <c:formatCode>General</c:formatCode>
                <c:ptCount val="4"/>
                <c:pt idx="2">
                  <c:v>1160.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
                </c:pt>
              </c:strCache>
            </c:strRef>
          </c:cat>
          <c:val>
            <c:numRef>
              <c:f>Sheet1!$D$2:$D$5</c:f>
              <c:numCache>
                <c:formatCode>General</c:formatCode>
                <c:ptCount val="4"/>
                <c:pt idx="0">
                  <c:v>125259.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0</c:v>
                </c:pt>
                <c:pt idx="2">
                  <c:v>IX 100</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5259.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B$2:$B$5</c:f>
              <c:numCache>
                <c:formatCode>General</c:formatCode>
                <c:ptCount val="4"/>
                <c:pt idx="0">
                  <c:v>125259.0</c:v>
                </c:pt>
                <c:pt idx="1">
                  <c:v>1014.47</c:v>
                </c:pt>
                <c:pt idx="2">
                  <c:v>1499.1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C$2:$C$5</c:f>
              <c:numCache>
                <c:formatCode>General</c:formatCode>
                <c:ptCount val="4"/>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D$2:$D$5</c:f>
              <c:numCache>
                <c:formatCode>General</c:formatCode>
                <c:ptCount val="4"/>
                <c:pt idx="0">
                  <c:v>125259.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5259.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1</c:v>
                </c:pt>
                <c:pt idx="2">
                  <c:v>IX 100</c:v>
                </c:pt>
                <c:pt idx="3">
                  <c:v>IX 100</c:v>
                </c:pt>
              </c:strCache>
            </c:strRef>
          </c:cat>
          <c:val>
            <c:numRef>
              <c:f>Sheet1!$B$2:$B$5</c:f>
              <c:numCache>
                <c:formatCode>General</c:formatCode>
                <c:ptCount val="4"/>
                <c:pt idx="0">
                  <c:v>1980.32</c:v>
                </c:pt>
                <c:pt idx="1">
                  <c:v>5368.71</c:v>
                </c:pt>
                <c:pt idx="2">
                  <c:v>1055.42</c:v>
                </c:pt>
                <c:pt idx="3">
                  <c:v>524.8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1201.81</a:t>
                    </a:r>
                  </a:p>
                </c:rich>
              </c:tx>
              <c:dLblPos val="l"/>
              <c:showLegendKey val="0"/>
              <c:showVal val="1"/>
              <c:showCatName val="0"/>
              <c:showSerName val="0"/>
              <c:showPercent val="0"/>
              <c:showBubbleSize val="0"/>
            </c:dLbl>
            <c:dLbl>
              <c:idx val="1"/>
              <c:tx>
                <c:rich>
                  <a:bodyPr/>
                  <a:lstStyle/>
                  <a:p>
                    <a:r>
                      <a:t>IX 11</a:t>
                    </a:r>
                  </a:p>
                  <a:p>
                    <a:r>
                      <a:t>766.43</a:t>
                    </a:r>
                  </a:p>
                </c:rich>
              </c:tx>
              <c:dLblPos val="l"/>
              <c:showLegendKey val="0"/>
              <c:showVal val="1"/>
              <c:showCatName val="0"/>
              <c:showSerName val="0"/>
              <c:showPercent val="0"/>
              <c:showBubbleSize val="0"/>
            </c:dLbl>
            <c:dLbl>
              <c:idx val="2"/>
              <c:tx>
                <c:rich>
                  <a:bodyPr/>
                  <a:lstStyle/>
                  <a:p>
                    <a:r>
                      <a:t>IX 100</a:t>
                    </a:r>
                  </a:p>
                  <a:p>
                    <a:r>
                      <a:t>978.47</a:t>
                    </a:r>
                  </a:p>
                </c:rich>
              </c:tx>
              <c:dLblPos val="l"/>
              <c:showLegendKey val="0"/>
              <c:showVal val="1"/>
              <c:showCatName val="0"/>
              <c:showSerName val="0"/>
              <c:showPercent val="0"/>
              <c:showBubbleSize val="0"/>
            </c:dLbl>
            <c:dLbl>
              <c:idx val="3"/>
              <c:tx>
                <c:rich>
                  <a:bodyPr/>
                  <a:lstStyle/>
                  <a:p>
                    <a:r>
                      <a:t>IX 100</a:t>
                    </a:r>
                  </a:p>
                  <a:p>
                    <a:r>
                      <a:t>533.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1</c:v>
                </c:pt>
                <c:pt idx="2">
                  <c:v>IX 100</c:v>
                </c:pt>
                <c:pt idx="3">
                  <c:v>IX 100</c:v>
                </c:pt>
              </c:strCache>
            </c:strRef>
          </c:cat>
          <c:val>
            <c:numRef>
              <c:f>Sheet1!$C$2:$C$5</c:f>
              <c:numCache>
                <c:formatCode>General</c:formatCode>
                <c:ptCount val="4"/>
                <c:pt idx="0">
                  <c:v>1201.81</c:v>
                </c:pt>
                <c:pt idx="1">
                  <c:v>766.43</c:v>
                </c:pt>
                <c:pt idx="2">
                  <c:v>978.47</c:v>
                </c:pt>
                <c:pt idx="3">
                  <c:v>533.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1</c:v>
                </c:pt>
                <c:pt idx="2">
                  <c:v>IX 100</c:v>
                </c:pt>
                <c:pt idx="3">
                  <c:v>IX 100</c:v>
                </c:pt>
              </c:strCache>
            </c:strRef>
          </c:cat>
          <c:val>
            <c:numRef>
              <c:f>Sheet1!$D$2:$D$5</c:f>
              <c:numCache>
                <c:formatCode>General</c:formatCode>
                <c:ptCount val="4"/>
                <c:pt idx="0">
                  <c:v>1993.84</c:v>
                </c:pt>
                <c:pt idx="1">
                  <c:v>4530.93</c:v>
                </c:pt>
                <c:pt idx="2">
                  <c:v>1240.54</c:v>
                </c:pt>
                <c:pt idx="3">
                  <c:v>541.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1</c:v>
                </c:pt>
                <c:pt idx="2">
                  <c:v>IX 100</c:v>
                </c:pt>
                <c:pt idx="3">
                  <c:v>IX 100</c:v>
                </c:pt>
              </c:strCache>
            </c:strRef>
          </c:cat>
          <c:val>
            <c:numRef>
              <c:f>Sheet1!$E$2:$E$5</c:f>
              <c:numCache>
                <c:formatCode>General</c:formatCode>
                <c:ptCount val="4"/>
                <c:pt idx="0">
                  <c:v>6903.09</c:v>
                </c:pt>
                <c:pt idx="1">
                  <c:v>6800.92</c:v>
                </c:pt>
                <c:pt idx="2">
                  <c:v>3718.16</c:v>
                </c:pt>
                <c:pt idx="3">
                  <c:v>251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1</c:v>
                </c:pt>
                <c:pt idx="2">
                  <c:v>IX 100</c:v>
                </c:pt>
                <c:pt idx="3">
                  <c:v>IX 100</c:v>
                </c:pt>
              </c:strCache>
            </c:strRef>
          </c:cat>
          <c:val>
            <c:numRef>
              <c:f>Sheet1!$F$2:$F$5</c:f>
              <c:numCache>
                <c:formatCode>General</c:formatCode>
                <c:ptCount val="4"/>
                <c:pt idx="0">
                  <c:v>6401.68</c:v>
                </c:pt>
                <c:pt idx="1">
                  <c:v>7448.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48.645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100</c:v>
                </c:pt>
                <c:pt idx="3">
                  <c:v>IX 3</c:v>
                </c:pt>
              </c:strCache>
            </c:strRef>
          </c:cat>
          <c:val>
            <c:numRef>
              <c:f>Sheet1!$B$2:$B$5</c:f>
              <c:numCache>
                <c:formatCode>General</c:formatCode>
                <c:ptCount val="4"/>
                <c:pt idx="0">
                  <c:v>1891.86</c:v>
                </c:pt>
                <c:pt idx="1">
                  <c:v>1156.51</c:v>
                </c:pt>
                <c:pt idx="2">
                  <c:v>571.8</c:v>
                </c:pt>
                <c:pt idx="3">
                  <c:v>5243.9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1402.69</a:t>
                    </a:r>
                  </a:p>
                </c:rich>
              </c:tx>
              <c:dLblPos val="l"/>
              <c:showLegendKey val="0"/>
              <c:showVal val="1"/>
              <c:showCatName val="0"/>
              <c:showSerName val="0"/>
              <c:showPercent val="0"/>
              <c:showBubbleSize val="0"/>
            </c:dLbl>
            <c:dLbl>
              <c:idx val="1"/>
              <c:tx>
                <c:rich>
                  <a:bodyPr/>
                  <a:lstStyle/>
                  <a:p>
                    <a:r>
                      <a:t>IX 100</a:t>
                    </a:r>
                  </a:p>
                  <a:p>
                    <a:r>
                      <a:t>1180.04</a:t>
                    </a:r>
                  </a:p>
                </c:rich>
              </c:tx>
              <c:dLblPos val="l"/>
              <c:showLegendKey val="0"/>
              <c:showVal val="1"/>
              <c:showCatName val="0"/>
              <c:showSerName val="0"/>
              <c:showPercent val="0"/>
              <c:showBubbleSize val="0"/>
            </c:dLbl>
            <c:dLbl>
              <c:idx val="2"/>
              <c:tx>
                <c:rich>
                  <a:bodyPr/>
                  <a:lstStyle/>
                  <a:p>
                    <a:r>
                      <a:t>IX 100</a:t>
                    </a:r>
                  </a:p>
                  <a:p>
                    <a:r>
                      <a:t>563.77</a:t>
                    </a:r>
                  </a:p>
                </c:rich>
              </c:tx>
              <c:dLblPos val="l"/>
              <c:showLegendKey val="0"/>
              <c:showVal val="1"/>
              <c:showCatName val="0"/>
              <c:showSerName val="0"/>
              <c:showPercent val="0"/>
              <c:showBubbleSize val="0"/>
            </c:dLbl>
            <c:dLbl>
              <c:idx val="3"/>
              <c:tx>
                <c:rich>
                  <a:bodyPr/>
                  <a:lstStyle/>
                  <a:p>
                    <a:r>
                      <a:t>IX 3</a:t>
                    </a:r>
                  </a:p>
                  <a:p>
                    <a:r>
                      <a:t>257.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100</c:v>
                </c:pt>
                <c:pt idx="3">
                  <c:v>IX 3</c:v>
                </c:pt>
              </c:strCache>
            </c:strRef>
          </c:cat>
          <c:val>
            <c:numRef>
              <c:f>Sheet1!$C$2:$C$5</c:f>
              <c:numCache>
                <c:formatCode>General</c:formatCode>
                <c:ptCount val="4"/>
                <c:pt idx="0">
                  <c:v>1402.69</c:v>
                </c:pt>
                <c:pt idx="1">
                  <c:v>1180.04</c:v>
                </c:pt>
                <c:pt idx="2">
                  <c:v>563.77</c:v>
                </c:pt>
                <c:pt idx="3">
                  <c:v>257.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100</c:v>
                </c:pt>
                <c:pt idx="3">
                  <c:v>IX 3</c:v>
                </c:pt>
              </c:strCache>
            </c:strRef>
          </c:cat>
          <c:val>
            <c:numRef>
              <c:f>Sheet1!$D$2:$D$5</c:f>
              <c:numCache>
                <c:formatCode>General</c:formatCode>
                <c:ptCount val="4"/>
                <c:pt idx="0">
                  <c:v>2101.88</c:v>
                </c:pt>
                <c:pt idx="1">
                  <c:v>1378.59</c:v>
                </c:pt>
                <c:pt idx="2">
                  <c:v>609.9</c:v>
                </c:pt>
                <c:pt idx="3">
                  <c:v>453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100</c:v>
                </c:pt>
                <c:pt idx="3">
                  <c:v>IX 3</c:v>
                </c:pt>
              </c:strCache>
            </c:strRef>
          </c:cat>
          <c:val>
            <c:numRef>
              <c:f>Sheet1!$E$2:$E$5</c:f>
              <c:numCache>
                <c:formatCode>General</c:formatCode>
                <c:ptCount val="4"/>
                <c:pt idx="0">
                  <c:v>3881.58</c:v>
                </c:pt>
                <c:pt idx="3">
                  <c:v>5700.8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0</c:v>
                </c:pt>
                <c:pt idx="2">
                  <c:v>IX 100</c:v>
                </c:pt>
                <c:pt idx="3">
                  <c:v>IX 3</c:v>
                </c:pt>
              </c:strCache>
            </c:strRef>
          </c:cat>
          <c:val>
            <c:numRef>
              <c:f>Sheet1!$F$2:$F$5</c:f>
              <c:numCache>
                <c:formatCode>General</c:formatCode>
                <c:ptCount val="4"/>
                <c:pt idx="0">
                  <c:v>7456.45</c:v>
                </c:pt>
                <c:pt idx="2">
                  <c:v>13608.0</c:v>
                </c:pt>
                <c:pt idx="3">
                  <c:v>9811.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608.5"/>
          <c:min val="257.16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45</c:v>
                </c:pt>
                <c:pt idx="3">
                  <c:v/>
                </c:pt>
              </c:strCache>
            </c:strRef>
          </c:cat>
          <c:val>
            <c:numRef>
              <c:f>Sheet1!$B$2:$B$5</c:f>
              <c:numCache>
                <c:formatCode>General</c:formatCode>
                <c:ptCount val="4"/>
                <c:pt idx="0">
                  <c:v>706.38</c:v>
                </c:pt>
                <c:pt idx="1">
                  <c:v>1565.17</c:v>
                </c:pt>
                <c:pt idx="2">
                  <c:v>1215.41</c:v>
                </c:pt>
                <c:pt idx="3">
                  <c:v>1454.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45</a:t>
                    </a:r>
                  </a:p>
                  <a:p>
                    <a:r>
                      <a:t>547.9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45</c:v>
                </c:pt>
                <c:pt idx="3">
                  <c:v/>
                </c:pt>
              </c:strCache>
            </c:strRef>
          </c:cat>
          <c:val>
            <c:numRef>
              <c:f>Sheet1!$C$2:$C$5</c:f>
              <c:numCache>
                <c:formatCode>General</c:formatCode>
                <c:ptCount val="4"/>
                <c:pt idx="2">
                  <c:v>547.9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45</c:v>
                </c:pt>
                <c:pt idx="3">
                  <c:v/>
                </c:pt>
              </c:strCache>
            </c:strRef>
          </c:cat>
          <c:val>
            <c:numRef>
              <c:f>Sheet1!$D$2:$D$5</c:f>
              <c:numCache>
                <c:formatCode>General</c:formatCode>
                <c:ptCount val="4"/>
                <c:pt idx="1">
                  <c:v>1565.17</c:v>
                </c:pt>
                <c:pt idx="2">
                  <c:v>1220.34</c:v>
                </c:pt>
                <c:pt idx="3">
                  <c:v>1443.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45</c:v>
                </c:pt>
                <c:pt idx="3">
                  <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45</c:v>
                </c:pt>
                <c:pt idx="3">
                  <c:v/>
                </c:pt>
              </c:strCache>
            </c:strRef>
          </c:cat>
          <c:val>
            <c:numRef>
              <c:f>Sheet1!$F$2:$F$5</c:f>
              <c:numCache>
                <c:formatCode>General</c:formatCode>
                <c:ptCount val="4"/>
                <c:pt idx="2">
                  <c:v>1933.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33.8171"/>
          <c:min val="547.41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212</c:v>
                </c:pt>
              </c:strCache>
            </c:strRef>
          </c:cat>
          <c:val>
            <c:numRef>
              <c:f>Sheet1!$B$2:$B$5</c:f>
              <c:numCache>
                <c:formatCode>General</c:formatCode>
                <c:ptCount val="4"/>
                <c:pt idx="0">
                  <c:v>706.38</c:v>
                </c:pt>
                <c:pt idx="1">
                  <c:v>1565.17</c:v>
                </c:pt>
                <c:pt idx="2">
                  <c:v>1215.41</c:v>
                </c:pt>
                <c:pt idx="3">
                  <c:v>1454.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90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212</a:t>
                    </a:r>
                  </a:p>
                  <a:p>
                    <a:r>
                      <a:t>3057.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212</c:v>
                </c:pt>
              </c:strCache>
            </c:strRef>
          </c:cat>
          <c:val>
            <c:numRef>
              <c:f>Sheet1!$C$2:$C$5</c:f>
              <c:numCache>
                <c:formatCode>General</c:formatCode>
                <c:ptCount val="4"/>
                <c:pt idx="0">
                  <c:v>907.8</c:v>
                </c:pt>
                <c:pt idx="3">
                  <c:v>3057.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212</c:v>
                </c:pt>
              </c:strCache>
            </c:strRef>
          </c:cat>
          <c:val>
            <c:numRef>
              <c:f>Sheet1!$D$2:$D$5</c:f>
              <c:numCache>
                <c:formatCode>General</c:formatCode>
                <c:ptCount val="4"/>
                <c:pt idx="1">
                  <c:v>1565.17</c:v>
                </c:pt>
                <c:pt idx="2">
                  <c:v>1220.34</c:v>
                </c:pt>
                <c:pt idx="3">
                  <c:v>1443.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212</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212</c:v>
                </c:pt>
              </c:strCache>
            </c:strRef>
          </c:cat>
          <c:val>
            <c:numRef>
              <c:f>Sheet1!$F$2:$F$5</c:f>
              <c:numCache>
                <c:formatCode>General</c:formatCode>
                <c:ptCount val="4"/>
                <c:pt idx="2">
                  <c:v>1933.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7.5"/>
          <c:min val="705.87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
                </c:pt>
                <c:pt idx="3">
                  <c:v>IX 102</c:v>
                </c:pt>
                <c:pt idx="4">
                  <c:v/>
                </c:pt>
              </c:strCache>
            </c:strRef>
          </c:cat>
          <c:val>
            <c:numRef>
              <c:f>Sheet1!$B$2:$B$6</c:f>
              <c:numCache>
                <c:formatCode>General</c:formatCode>
                <c:ptCount val="5"/>
                <c:pt idx="0">
                  <c:v>1659.42</c:v>
                </c:pt>
                <c:pt idx="1">
                  <c:v>1363.12</c:v>
                </c:pt>
                <c:pt idx="2">
                  <c:v>1729.46</c:v>
                </c:pt>
                <c:pt idx="3">
                  <c:v>1388.07</c:v>
                </c:pt>
                <c:pt idx="4">
                  <c:v>11592.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1155.12</a:t>
                    </a:r>
                  </a:p>
                </c:rich>
              </c:tx>
              <c:dLblPos val="l"/>
              <c:showLegendKey val="0"/>
              <c:showVal val="1"/>
              <c:showCatName val="0"/>
              <c:showSerName val="0"/>
              <c:showPercent val="0"/>
              <c:showBubbleSize val="0"/>
            </c:dLbl>
            <c:dLbl>
              <c:idx val="1"/>
              <c:tx>
                <c:rich>
                  <a:bodyPr/>
                  <a:lstStyle/>
                  <a:p>
                    <a:r>
                      <a:t>IX 90</a:t>
                    </a:r>
                  </a:p>
                  <a:p>
                    <a:r>
                      <a:t>1194.8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2</a:t>
                    </a:r>
                  </a:p>
                  <a:p>
                    <a:r>
                      <a:t>1402.1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
                </c:pt>
                <c:pt idx="3">
                  <c:v>IX 102</c:v>
                </c:pt>
                <c:pt idx="4">
                  <c:v/>
                </c:pt>
              </c:strCache>
            </c:strRef>
          </c:cat>
          <c:val>
            <c:numRef>
              <c:f>Sheet1!$C$2:$C$6</c:f>
              <c:numCache>
                <c:formatCode>General</c:formatCode>
                <c:ptCount val="5"/>
                <c:pt idx="0">
                  <c:v>1155.12</c:v>
                </c:pt>
                <c:pt idx="1">
                  <c:v>1194.82</c:v>
                </c:pt>
                <c:pt idx="3">
                  <c:v>1402.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
                </c:pt>
                <c:pt idx="3">
                  <c:v>IX 102</c:v>
                </c:pt>
                <c:pt idx="4">
                  <c:v/>
                </c:pt>
              </c:strCache>
            </c:strRef>
          </c:cat>
          <c:val>
            <c:numRef>
              <c:f>Sheet1!$D$2:$D$6</c:f>
              <c:numCache>
                <c:formatCode>General</c:formatCode>
                <c:ptCount val="5"/>
                <c:pt idx="0">
                  <c:v>2266.45</c:v>
                </c:pt>
                <c:pt idx="1">
                  <c:v>1332.48</c:v>
                </c:pt>
                <c:pt idx="2">
                  <c:v>1302.74</c:v>
                </c:pt>
                <c:pt idx="3">
                  <c:v>1374.75</c:v>
                </c:pt>
                <c:pt idx="4">
                  <c:v>635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
                </c:pt>
                <c:pt idx="3">
                  <c:v>IX 102</c:v>
                </c:pt>
                <c:pt idx="4">
                  <c:v/>
                </c:pt>
              </c:strCache>
            </c:strRef>
          </c:cat>
          <c:val>
            <c:numRef>
              <c:f>Sheet1!$E$2:$E$6</c:f>
              <c:numCache>
                <c:formatCode>General</c:formatCode>
                <c:ptCount val="5"/>
                <c:pt idx="0">
                  <c:v>13166.92</c:v>
                </c:pt>
                <c:pt idx="1">
                  <c:v>23067.92</c:v>
                </c:pt>
                <c:pt idx="2">
                  <c:v>2459.06</c:v>
                </c:pt>
                <c:pt idx="3">
                  <c:v>6022.83</c:v>
                </c:pt>
                <c:pt idx="4">
                  <c:v>14874.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90</c:v>
                </c:pt>
                <c:pt idx="2">
                  <c:v/>
                </c:pt>
                <c:pt idx="3">
                  <c:v>IX 102</c:v>
                </c:pt>
                <c:pt idx="4">
                  <c:v/>
                </c:pt>
              </c:strCache>
            </c:strRef>
          </c:cat>
          <c:val>
            <c:numRef>
              <c:f>Sheet1!$F$2:$F$6</c:f>
              <c:numCache>
                <c:formatCode>General</c:formatCode>
                <c:ptCount val="5"/>
                <c:pt idx="0">
                  <c:v>4715.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068.4167"/>
          <c:min val="1154.62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82</c:v>
                </c:pt>
                <c:pt idx="2">
                  <c:v/>
                </c:pt>
                <c:pt idx="3">
                  <c:v>IX 85</c:v>
                </c:pt>
                <c:pt idx="4">
                  <c:v>IX 34</c:v>
                </c:pt>
              </c:strCache>
            </c:strRef>
          </c:cat>
          <c:val>
            <c:numRef>
              <c:f>Sheet1!$B$2:$B$6</c:f>
              <c:numCache>
                <c:formatCode>General</c:formatCode>
                <c:ptCount val="5"/>
                <c:pt idx="0">
                  <c:v>1659.42</c:v>
                </c:pt>
                <c:pt idx="1">
                  <c:v>1363.12</c:v>
                </c:pt>
                <c:pt idx="2">
                  <c:v>1729.46</c:v>
                </c:pt>
                <c:pt idx="3">
                  <c:v>1388.07</c:v>
                </c:pt>
                <c:pt idx="4">
                  <c:v>11592.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7</a:t>
                    </a:r>
                  </a:p>
                  <a:p>
                    <a:r>
                      <a:t>1056.38</a:t>
                    </a:r>
                  </a:p>
                </c:rich>
              </c:tx>
              <c:dLblPos val="l"/>
              <c:showLegendKey val="0"/>
              <c:showVal val="1"/>
              <c:showCatName val="0"/>
              <c:showSerName val="0"/>
              <c:showPercent val="0"/>
              <c:showBubbleSize val="0"/>
            </c:dLbl>
            <c:dLbl>
              <c:idx val="1"/>
              <c:tx>
                <c:rich>
                  <a:bodyPr/>
                  <a:lstStyle/>
                  <a:p>
                    <a:r>
                      <a:t>IX 82</a:t>
                    </a:r>
                  </a:p>
                  <a:p>
                    <a:r>
                      <a:t>1095.0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85</a:t>
                    </a:r>
                  </a:p>
                  <a:p>
                    <a:r>
                      <a:t>1175.05</a:t>
                    </a:r>
                  </a:p>
                </c:rich>
              </c:tx>
              <c:dLblPos val="l"/>
              <c:showLegendKey val="0"/>
              <c:showVal val="1"/>
              <c:showCatName val="0"/>
              <c:showSerName val="0"/>
              <c:showPercent val="0"/>
              <c:showBubbleSize val="0"/>
            </c:dLbl>
            <c:dLbl>
              <c:idx val="4"/>
              <c:tx>
                <c:rich>
                  <a:bodyPr/>
                  <a:lstStyle/>
                  <a:p>
                    <a:r>
                      <a:t>IX 34</a:t>
                    </a:r>
                  </a:p>
                  <a:p>
                    <a:r>
                      <a:t>5096.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82</c:v>
                </c:pt>
                <c:pt idx="2">
                  <c:v/>
                </c:pt>
                <c:pt idx="3">
                  <c:v>IX 85</c:v>
                </c:pt>
                <c:pt idx="4">
                  <c:v>IX 34</c:v>
                </c:pt>
              </c:strCache>
            </c:strRef>
          </c:cat>
          <c:val>
            <c:numRef>
              <c:f>Sheet1!$C$2:$C$6</c:f>
              <c:numCache>
                <c:formatCode>General</c:formatCode>
                <c:ptCount val="5"/>
                <c:pt idx="0">
                  <c:v>1056.38</c:v>
                </c:pt>
                <c:pt idx="1">
                  <c:v>1095.05</c:v>
                </c:pt>
                <c:pt idx="3">
                  <c:v>1175.05</c:v>
                </c:pt>
                <c:pt idx="4">
                  <c:v>5096.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82</c:v>
                </c:pt>
                <c:pt idx="2">
                  <c:v/>
                </c:pt>
                <c:pt idx="3">
                  <c:v>IX 85</c:v>
                </c:pt>
                <c:pt idx="4">
                  <c:v>IX 34</c:v>
                </c:pt>
              </c:strCache>
            </c:strRef>
          </c:cat>
          <c:val>
            <c:numRef>
              <c:f>Sheet1!$D$2:$D$6</c:f>
              <c:numCache>
                <c:formatCode>General</c:formatCode>
                <c:ptCount val="5"/>
                <c:pt idx="0">
                  <c:v>2266.45</c:v>
                </c:pt>
                <c:pt idx="1">
                  <c:v>1332.48</c:v>
                </c:pt>
                <c:pt idx="2">
                  <c:v>1302.74</c:v>
                </c:pt>
                <c:pt idx="3">
                  <c:v>1374.75</c:v>
                </c:pt>
                <c:pt idx="4">
                  <c:v>635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82</c:v>
                </c:pt>
                <c:pt idx="2">
                  <c:v/>
                </c:pt>
                <c:pt idx="3">
                  <c:v>IX 85</c:v>
                </c:pt>
                <c:pt idx="4">
                  <c:v>IX 34</c:v>
                </c:pt>
              </c:strCache>
            </c:strRef>
          </c:cat>
          <c:val>
            <c:numRef>
              <c:f>Sheet1!$E$2:$E$6</c:f>
              <c:numCache>
                <c:formatCode>General</c:formatCode>
                <c:ptCount val="5"/>
                <c:pt idx="0">
                  <c:v>13166.92</c:v>
                </c:pt>
                <c:pt idx="1">
                  <c:v>23067.92</c:v>
                </c:pt>
                <c:pt idx="2">
                  <c:v>2459.06</c:v>
                </c:pt>
                <c:pt idx="3">
                  <c:v>6022.83</c:v>
                </c:pt>
                <c:pt idx="4">
                  <c:v>14874.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7</c:v>
                </c:pt>
                <c:pt idx="1">
                  <c:v>IX 82</c:v>
                </c:pt>
                <c:pt idx="2">
                  <c:v/>
                </c:pt>
                <c:pt idx="3">
                  <c:v>IX 85</c:v>
                </c:pt>
                <c:pt idx="4">
                  <c:v>IX 34</c:v>
                </c:pt>
              </c:strCache>
            </c:strRef>
          </c:cat>
          <c:val>
            <c:numRef>
              <c:f>Sheet1!$F$2:$F$6</c:f>
              <c:numCache>
                <c:formatCode>General</c:formatCode>
                <c:ptCount val="5"/>
                <c:pt idx="0">
                  <c:v>4715.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068.4167"/>
          <c:min val="1055.878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18</c:v>
                </c:pt>
                <c:pt idx="2">
                  <c:v/>
                </c:pt>
                <c:pt idx="3">
                  <c:v/>
                </c:pt>
                <c:pt idx="4">
                  <c:v/>
                </c:pt>
              </c:strCache>
            </c:strRef>
          </c:cat>
          <c:val>
            <c:numRef>
              <c:f>Sheet1!$B$2:$B$6</c:f>
              <c:numCache>
                <c:formatCode>General</c:formatCode>
                <c:ptCount val="5"/>
                <c:pt idx="0">
                  <c:v>1659.42</c:v>
                </c:pt>
                <c:pt idx="1">
                  <c:v>1363.12</c:v>
                </c:pt>
                <c:pt idx="2">
                  <c:v>1729.46</c:v>
                </c:pt>
                <c:pt idx="3">
                  <c:v>1388.07</c:v>
                </c:pt>
                <c:pt idx="4">
                  <c:v>11592.5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18</a:t>
                    </a:r>
                  </a:p>
                  <a:p>
                    <a:r>
                      <a:t>4233.1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18</c:v>
                </c:pt>
                <c:pt idx="2">
                  <c:v/>
                </c:pt>
                <c:pt idx="3">
                  <c:v/>
                </c:pt>
                <c:pt idx="4">
                  <c:v/>
                </c:pt>
              </c:strCache>
            </c:strRef>
          </c:cat>
          <c:val>
            <c:numRef>
              <c:f>Sheet1!$C$2:$C$6</c:f>
              <c:numCache>
                <c:formatCode>General</c:formatCode>
                <c:ptCount val="5"/>
                <c:pt idx="1">
                  <c:v>4233.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18</c:v>
                </c:pt>
                <c:pt idx="2">
                  <c:v/>
                </c:pt>
                <c:pt idx="3">
                  <c:v/>
                </c:pt>
                <c:pt idx="4">
                  <c:v/>
                </c:pt>
              </c:strCache>
            </c:strRef>
          </c:cat>
          <c:val>
            <c:numRef>
              <c:f>Sheet1!$D$2:$D$6</c:f>
              <c:numCache>
                <c:formatCode>General</c:formatCode>
                <c:ptCount val="5"/>
                <c:pt idx="0">
                  <c:v>2266.45</c:v>
                </c:pt>
                <c:pt idx="1">
                  <c:v>1332.48</c:v>
                </c:pt>
                <c:pt idx="2">
                  <c:v>1302.74</c:v>
                </c:pt>
                <c:pt idx="3">
                  <c:v>1374.75</c:v>
                </c:pt>
                <c:pt idx="4">
                  <c:v>635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18</c:v>
                </c:pt>
                <c:pt idx="2">
                  <c:v/>
                </c:pt>
                <c:pt idx="3">
                  <c:v/>
                </c:pt>
                <c:pt idx="4">
                  <c:v/>
                </c:pt>
              </c:strCache>
            </c:strRef>
          </c:cat>
          <c:val>
            <c:numRef>
              <c:f>Sheet1!$E$2:$E$6</c:f>
              <c:numCache>
                <c:formatCode>General</c:formatCode>
                <c:ptCount val="5"/>
                <c:pt idx="0">
                  <c:v>13166.92</c:v>
                </c:pt>
                <c:pt idx="1">
                  <c:v>23067.92</c:v>
                </c:pt>
                <c:pt idx="2">
                  <c:v>2459.06</c:v>
                </c:pt>
                <c:pt idx="3">
                  <c:v>6022.83</c:v>
                </c:pt>
                <c:pt idx="4">
                  <c:v>14874.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18</c:v>
                </c:pt>
                <c:pt idx="2">
                  <c:v/>
                </c:pt>
                <c:pt idx="3">
                  <c:v/>
                </c:pt>
                <c:pt idx="4">
                  <c:v/>
                </c:pt>
              </c:strCache>
            </c:strRef>
          </c:cat>
          <c:val>
            <c:numRef>
              <c:f>Sheet1!$F$2:$F$6</c:f>
              <c:numCache>
                <c:formatCode>General</c:formatCode>
                <c:ptCount val="5"/>
                <c:pt idx="0">
                  <c:v>4715.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068.4167"/>
          <c:min val="1302.241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14350.96</c:v>
                </c:pt>
                <c:pt idx="1">
                  <c:v>1026.59</c:v>
                </c:pt>
                <c:pt idx="2">
                  <c:v>20706.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727.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727.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14350.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E$2:$E$5</c:f>
              <c:numCache>
                <c:formatCode>General</c:formatCode>
                <c:ptCount val="4"/>
                <c:pt idx="2">
                  <c:v>20706.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727.04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B$2:$B$5</c:f>
              <c:numCache>
                <c:formatCode>General</c:formatCode>
                <c:ptCount val="4"/>
                <c:pt idx="0">
                  <c:v>14350.96</c:v>
                </c:pt>
                <c:pt idx="1">
                  <c:v>1026.59</c:v>
                </c:pt>
                <c:pt idx="2">
                  <c:v>20706.2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C$2:$C$5</c:f>
              <c:numCache>
                <c:formatCode>General</c:formatCode>
                <c:ptCount val="4"/>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D$2:$D$5</c:f>
              <c:numCache>
                <c:formatCode>General</c:formatCode>
                <c:ptCount val="4"/>
                <c:pt idx="0">
                  <c:v>14350.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E$2:$E$5</c:f>
              <c:numCache>
                <c:formatCode>General</c:formatCode>
                <c:ptCount val="4"/>
                <c:pt idx="2">
                  <c:v>20706.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B$2:$B$6</c:f>
              <c:numCache>
                <c:formatCode>General</c:formatCode>
                <c:ptCount val="5"/>
                <c:pt idx="0">
                  <c:v>682.45</c:v>
                </c:pt>
                <c:pt idx="1">
                  <c:v>1303.13</c:v>
                </c:pt>
                <c:pt idx="2">
                  <c:v>1696.94</c:v>
                </c:pt>
                <c:pt idx="3">
                  <c:v>1433.52</c:v>
                </c:pt>
                <c:pt idx="4">
                  <c:v>65802.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6</a:t>
                    </a:r>
                  </a:p>
                  <a:p>
                    <a:r>
                      <a:t>594.5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C$2:$C$6</c:f>
              <c:numCache>
                <c:formatCode>General</c:formatCode>
                <c:ptCount val="5"/>
                <c:pt idx="1">
                  <c:v>594.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Eucer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E$2:$E$6</c:f>
              <c:numCache>
                <c:formatCode>General</c:formatCode>
                <c:ptCount val="5"/>
                <c:pt idx="1">
                  <c:v>2384.0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6</c:v>
                </c:pt>
                <c:pt idx="2">
                  <c:v/>
                </c:pt>
                <c:pt idx="3">
                  <c:v/>
                </c:pt>
                <c:pt idx="4">
                  <c:v/>
                </c:pt>
              </c:strCache>
            </c:strRef>
          </c:cat>
          <c:val>
            <c:numRef>
              <c:f>Sheet1!$F$2:$F$6</c:f>
              <c:numCache>
                <c:formatCode>General</c:formatCode>
                <c:ptCount val="5"/>
                <c:pt idx="1">
                  <c:v>1283.31</c:v>
                </c:pt>
                <c:pt idx="2">
                  <c:v>1695.94</c:v>
                </c:pt>
                <c:pt idx="3">
                  <c:v>1424.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802.5"/>
          <c:min val="594.01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6</c:v>
                </c:pt>
                <c:pt idx="2">
                  <c:v/>
                </c:pt>
                <c:pt idx="3">
                  <c:v>IX 153</c:v>
                </c:pt>
                <c:pt idx="4">
                  <c:v/>
                </c:pt>
              </c:strCache>
            </c:strRef>
          </c:cat>
          <c:val>
            <c:numRef>
              <c:f>Sheet1!$B$2:$B$6</c:f>
              <c:numCache>
                <c:formatCode>General</c:formatCode>
                <c:ptCount val="5"/>
                <c:pt idx="0">
                  <c:v>682.45</c:v>
                </c:pt>
                <c:pt idx="1">
                  <c:v>1303.13</c:v>
                </c:pt>
                <c:pt idx="2">
                  <c:v>1696.94</c:v>
                </c:pt>
                <c:pt idx="3">
                  <c:v>1433.52</c:v>
                </c:pt>
                <c:pt idx="4">
                  <c:v>65802.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70.52</a:t>
                    </a:r>
                  </a:p>
                </c:rich>
              </c:tx>
              <c:dLblPos val="l"/>
              <c:showLegendKey val="0"/>
              <c:showVal val="1"/>
              <c:showCatName val="0"/>
              <c:showSerName val="0"/>
              <c:showPercent val="0"/>
              <c:showBubbleSize val="0"/>
            </c:dLbl>
            <c:dLbl>
              <c:idx val="1"/>
              <c:tx>
                <c:rich>
                  <a:bodyPr/>
                  <a:lstStyle/>
                  <a:p>
                    <a:r>
                      <a:t>IX 66</a:t>
                    </a:r>
                  </a:p>
                  <a:p>
                    <a:r>
                      <a:t>849.2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53</a:t>
                    </a:r>
                  </a:p>
                  <a:p>
                    <a:r>
                      <a:t>2177.3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6</c:v>
                </c:pt>
                <c:pt idx="2">
                  <c:v/>
                </c:pt>
                <c:pt idx="3">
                  <c:v>IX 153</c:v>
                </c:pt>
                <c:pt idx="4">
                  <c:v/>
                </c:pt>
              </c:strCache>
            </c:strRef>
          </c:cat>
          <c:val>
            <c:numRef>
              <c:f>Sheet1!$C$2:$C$6</c:f>
              <c:numCache>
                <c:formatCode>General</c:formatCode>
                <c:ptCount val="5"/>
                <c:pt idx="0">
                  <c:v>1070.52</c:v>
                </c:pt>
                <c:pt idx="1">
                  <c:v>849.29</c:v>
                </c:pt>
                <c:pt idx="3">
                  <c:v>2177.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6</c:v>
                </c:pt>
                <c:pt idx="2">
                  <c:v/>
                </c:pt>
                <c:pt idx="3">
                  <c:v>IX 153</c:v>
                </c:pt>
                <c:pt idx="4">
                  <c:v/>
                </c:pt>
              </c:strCache>
            </c:strRef>
          </c:cat>
          <c:val>
            <c:numRef>
              <c:f>Sheet1!$D$2:$D$6</c:f>
              <c:numCache>
                <c:formatCode>General</c:formatCode>
                <c:ptCount val="5"/>
                <c:pt idx="1">
                  <c:v>1283.31</c:v>
                </c:pt>
                <c:pt idx="2">
                  <c:v>1695.94</c:v>
                </c:pt>
                <c:pt idx="3">
                  <c:v>1424.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6</c:v>
                </c:pt>
                <c:pt idx="2">
                  <c:v/>
                </c:pt>
                <c:pt idx="3">
                  <c:v>IX 153</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6</c:v>
                </c:pt>
                <c:pt idx="2">
                  <c:v/>
                </c:pt>
                <c:pt idx="3">
                  <c:v>IX 153</c:v>
                </c:pt>
                <c:pt idx="4">
                  <c:v/>
                </c:pt>
              </c:strCache>
            </c:strRef>
          </c:cat>
          <c:val>
            <c:numRef>
              <c:f>Sheet1!$F$2:$F$6</c:f>
              <c:numCache>
                <c:formatCode>General</c:formatCode>
                <c:ptCount val="5"/>
                <c:pt idx="1">
                  <c:v>2384.0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802.5"/>
          <c:min val="681.94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IX 100</c:v>
                </c:pt>
                <c:pt idx="3">
                  <c:v/>
                </c:pt>
                <c:pt idx="4">
                  <c:v/>
                </c:pt>
              </c:strCache>
            </c:strRef>
          </c:cat>
          <c:val>
            <c:numRef>
              <c:f>Sheet1!$B$2:$B$6</c:f>
              <c:numCache>
                <c:formatCode>General</c:formatCode>
                <c:ptCount val="5"/>
                <c:pt idx="0">
                  <c:v>1665.7</c:v>
                </c:pt>
                <c:pt idx="1">
                  <c:v>1379.46</c:v>
                </c:pt>
                <c:pt idx="2">
                  <c:v>1479.37</c:v>
                </c:pt>
                <c:pt idx="3">
                  <c:v>1874.5</c:v>
                </c:pt>
                <c:pt idx="4">
                  <c:v>11640.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1183.4</a:t>
                    </a:r>
                  </a:p>
                </c:rich>
              </c:tx>
              <c:dLblPos val="l"/>
              <c:showLegendKey val="0"/>
              <c:showVal val="1"/>
              <c:showCatName val="0"/>
              <c:showSerName val="0"/>
              <c:showPercent val="0"/>
              <c:showBubbleSize val="0"/>
            </c:dLbl>
            <c:dLbl>
              <c:idx val="1"/>
              <c:tx>
                <c:rich>
                  <a:bodyPr/>
                  <a:lstStyle/>
                  <a:p>
                    <a:r>
                      <a:t>IX 100</a:t>
                    </a:r>
                  </a:p>
                  <a:p>
                    <a:r>
                      <a:t>1223.61</a:t>
                    </a:r>
                  </a:p>
                </c:rich>
              </c:tx>
              <c:dLblPos val="l"/>
              <c:showLegendKey val="0"/>
              <c:showVal val="1"/>
              <c:showCatName val="0"/>
              <c:showSerName val="0"/>
              <c:showPercent val="0"/>
              <c:showBubbleSize val="0"/>
            </c:dLbl>
            <c:dLbl>
              <c:idx val="2"/>
              <c:tx>
                <c:rich>
                  <a:bodyPr/>
                  <a:lstStyle/>
                  <a:p>
                    <a:r>
                      <a:t>IX 100</a:t>
                    </a:r>
                  </a:p>
                  <a:p>
                    <a:r>
                      <a:t>1480.3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IX 100</c:v>
                </c:pt>
                <c:pt idx="3">
                  <c:v/>
                </c:pt>
                <c:pt idx="4">
                  <c:v/>
                </c:pt>
              </c:strCache>
            </c:strRef>
          </c:cat>
          <c:val>
            <c:numRef>
              <c:f>Sheet1!$C$2:$C$6</c:f>
              <c:numCache>
                <c:formatCode>General</c:formatCode>
                <c:ptCount val="5"/>
                <c:pt idx="0">
                  <c:v>1183.4</c:v>
                </c:pt>
                <c:pt idx="1">
                  <c:v>1223.61</c:v>
                </c:pt>
                <c:pt idx="2">
                  <c:v>1480.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IX 100</c:v>
                </c:pt>
                <c:pt idx="3">
                  <c:v/>
                </c:pt>
                <c:pt idx="4">
                  <c:v/>
                </c:pt>
              </c:strCache>
            </c:strRef>
          </c:cat>
          <c:val>
            <c:numRef>
              <c:f>Sheet1!$D$2:$D$6</c:f>
              <c:numCache>
                <c:formatCode>General</c:formatCode>
                <c:ptCount val="5"/>
                <c:pt idx="0">
                  <c:v>2333.36</c:v>
                </c:pt>
                <c:pt idx="1">
                  <c:v>1351.17</c:v>
                </c:pt>
                <c:pt idx="2">
                  <c:v>1432.52</c:v>
                </c:pt>
                <c:pt idx="3">
                  <c:v>1325.53</c:v>
                </c:pt>
                <c:pt idx="4">
                  <c:v>6245.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IX 100</c:v>
                </c:pt>
                <c:pt idx="3">
                  <c:v/>
                </c:pt>
                <c:pt idx="4">
                  <c:v/>
                </c:pt>
              </c:strCache>
            </c:strRef>
          </c:cat>
          <c:val>
            <c:numRef>
              <c:f>Sheet1!$E$2:$E$6</c:f>
              <c:numCache>
                <c:formatCode>General</c:formatCode>
                <c:ptCount val="5"/>
                <c:pt idx="0">
                  <c:v>13231.08</c:v>
                </c:pt>
                <c:pt idx="1">
                  <c:v>181377.0</c:v>
                </c:pt>
                <c:pt idx="2">
                  <c:v>5878.1</c:v>
                </c:pt>
                <c:pt idx="3">
                  <c:v>2498.42</c:v>
                </c:pt>
                <c:pt idx="4">
                  <c:v>15315.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100</c:v>
                </c:pt>
                <c:pt idx="2">
                  <c:v>IX 100</c:v>
                </c:pt>
                <c:pt idx="3">
                  <c:v/>
                </c:pt>
                <c:pt idx="4">
                  <c:v/>
                </c:pt>
              </c:strCache>
            </c:strRef>
          </c:cat>
          <c:val>
            <c:numRef>
              <c:f>Sheet1!$F$2:$F$6</c:f>
              <c:numCache>
                <c:formatCode>General</c:formatCode>
                <c:ptCount val="5"/>
                <c:pt idx="0">
                  <c:v>4829.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377.5"/>
          <c:min val="1182.89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5</c:v>
                </c:pt>
                <c:pt idx="2">
                  <c:v>IX 100</c:v>
                </c:pt>
                <c:pt idx="3">
                  <c:v>IX 100</c:v>
                </c:pt>
              </c:strCache>
            </c:strRef>
          </c:cat>
          <c:val>
            <c:numRef>
              <c:f>Sheet1!$B$2:$B$5</c:f>
              <c:numCache>
                <c:formatCode>General</c:formatCode>
                <c:ptCount val="4"/>
                <c:pt idx="0">
                  <c:v>2232.59</c:v>
                </c:pt>
                <c:pt idx="1">
                  <c:v>6513.71</c:v>
                </c:pt>
                <c:pt idx="2">
                  <c:v>1202.76</c:v>
                </c:pt>
                <c:pt idx="3">
                  <c:v>587.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1342.1</a:t>
                    </a:r>
                  </a:p>
                </c:rich>
              </c:tx>
              <c:dLblPos val="l"/>
              <c:showLegendKey val="0"/>
              <c:showVal val="1"/>
              <c:showCatName val="0"/>
              <c:showSerName val="0"/>
              <c:showPercent val="0"/>
              <c:showBubbleSize val="0"/>
            </c:dLbl>
            <c:dLbl>
              <c:idx val="1"/>
              <c:tx>
                <c:rich>
                  <a:bodyPr/>
                  <a:lstStyle/>
                  <a:p>
                    <a:r>
                      <a:t>IX 15</a:t>
                    </a:r>
                  </a:p>
                  <a:p>
                    <a:r>
                      <a:t>1159.14</a:t>
                    </a:r>
                  </a:p>
                </c:rich>
              </c:tx>
              <c:dLblPos val="l"/>
              <c:showLegendKey val="0"/>
              <c:showVal val="1"/>
              <c:showCatName val="0"/>
              <c:showSerName val="0"/>
              <c:showPercent val="0"/>
              <c:showBubbleSize val="0"/>
            </c:dLbl>
            <c:dLbl>
              <c:idx val="2"/>
              <c:tx>
                <c:rich>
                  <a:bodyPr/>
                  <a:lstStyle/>
                  <a:p>
                    <a:r>
                      <a:t>IX 100</a:t>
                    </a:r>
                  </a:p>
                  <a:p>
                    <a:r>
                      <a:t>1139.26</a:t>
                    </a:r>
                  </a:p>
                </c:rich>
              </c:tx>
              <c:dLblPos val="l"/>
              <c:showLegendKey val="0"/>
              <c:showVal val="1"/>
              <c:showCatName val="0"/>
              <c:showSerName val="0"/>
              <c:showPercent val="0"/>
              <c:showBubbleSize val="0"/>
            </c:dLbl>
            <c:dLbl>
              <c:idx val="3"/>
              <c:tx>
                <c:rich>
                  <a:bodyPr/>
                  <a:lstStyle/>
                  <a:p>
                    <a:r>
                      <a:t>IX 100</a:t>
                    </a:r>
                  </a:p>
                  <a:p>
                    <a:r>
                      <a:t>589.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5</c:v>
                </c:pt>
                <c:pt idx="2">
                  <c:v>IX 100</c:v>
                </c:pt>
                <c:pt idx="3">
                  <c:v>IX 100</c:v>
                </c:pt>
              </c:strCache>
            </c:strRef>
          </c:cat>
          <c:val>
            <c:numRef>
              <c:f>Sheet1!$C$2:$C$5</c:f>
              <c:numCache>
                <c:formatCode>General</c:formatCode>
                <c:ptCount val="4"/>
                <c:pt idx="0">
                  <c:v>1342.1</c:v>
                </c:pt>
                <c:pt idx="1">
                  <c:v>1159.14</c:v>
                </c:pt>
                <c:pt idx="2">
                  <c:v>1139.26</c:v>
                </c:pt>
                <c:pt idx="3">
                  <c:v>589.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5</c:v>
                </c:pt>
                <c:pt idx="2">
                  <c:v>IX 100</c:v>
                </c:pt>
                <c:pt idx="3">
                  <c:v>IX 100</c:v>
                </c:pt>
              </c:strCache>
            </c:strRef>
          </c:cat>
          <c:val>
            <c:numRef>
              <c:f>Sheet1!$D$2:$D$5</c:f>
              <c:numCache>
                <c:formatCode>General</c:formatCode>
                <c:ptCount val="4"/>
                <c:pt idx="0">
                  <c:v>2235.18</c:v>
                </c:pt>
                <c:pt idx="1">
                  <c:v>6470.23</c:v>
                </c:pt>
                <c:pt idx="2">
                  <c:v>1367.72</c:v>
                </c:pt>
                <c:pt idx="3">
                  <c:v>589.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5</c:v>
                </c:pt>
                <c:pt idx="2">
                  <c:v>IX 100</c:v>
                </c:pt>
                <c:pt idx="3">
                  <c:v>IX 100</c:v>
                </c:pt>
              </c:strCache>
            </c:strRef>
          </c:cat>
          <c:val>
            <c:numRef>
              <c:f>Sheet1!$E$2:$E$5</c:f>
              <c:numCache>
                <c:formatCode>General</c:formatCode>
                <c:ptCount val="4"/>
                <c:pt idx="0">
                  <c:v>7862.98</c:v>
                </c:pt>
                <c:pt idx="1">
                  <c:v>7702.08</c:v>
                </c:pt>
                <c:pt idx="2">
                  <c:v>4006.3</c:v>
                </c:pt>
                <c:pt idx="3">
                  <c:v>327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0</c:v>
                </c:pt>
                <c:pt idx="1">
                  <c:v>IX 15</c:v>
                </c:pt>
                <c:pt idx="2">
                  <c:v>IX 100</c:v>
                </c:pt>
                <c:pt idx="3">
                  <c:v>IX 100</c:v>
                </c:pt>
              </c:strCache>
            </c:strRef>
          </c:cat>
          <c:val>
            <c:numRef>
              <c:f>Sheet1!$F$2:$F$5</c:f>
              <c:numCache>
                <c:formatCode>General</c:formatCode>
                <c:ptCount val="4"/>
                <c:pt idx="0">
                  <c:v>7259.15</c:v>
                </c:pt>
                <c:pt idx="1">
                  <c:v>8336.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37.4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100</c:v>
                </c:pt>
                <c:pt idx="3">
                  <c:v/>
                </c:pt>
                <c:pt idx="4">
                  <c:v>IX 42</c:v>
                </c:pt>
              </c:strCache>
            </c:strRef>
          </c:cat>
          <c:val>
            <c:numRef>
              <c:f>Sheet1!$B$2:$B$6</c:f>
              <c:numCache>
                <c:formatCode>General</c:formatCode>
                <c:ptCount val="5"/>
                <c:pt idx="0">
                  <c:v>1665.7</c:v>
                </c:pt>
                <c:pt idx="1">
                  <c:v>1379.46</c:v>
                </c:pt>
                <c:pt idx="2">
                  <c:v>1479.37</c:v>
                </c:pt>
                <c:pt idx="3">
                  <c:v>1874.5</c:v>
                </c:pt>
                <c:pt idx="4">
                  <c:v>11640.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072.76</a:t>
                    </a:r>
                  </a:p>
                </c:rich>
              </c:tx>
              <c:dLblPos val="l"/>
              <c:showLegendKey val="0"/>
              <c:showVal val="1"/>
              <c:showCatName val="0"/>
              <c:showSerName val="0"/>
              <c:showPercent val="0"/>
              <c:showBubbleSize val="0"/>
            </c:dLbl>
            <c:dLbl>
              <c:idx val="1"/>
              <c:tx>
                <c:rich>
                  <a:bodyPr/>
                  <a:lstStyle/>
                  <a:p>
                    <a:r>
                      <a:t>IX 83</a:t>
                    </a:r>
                  </a:p>
                  <a:p>
                    <a:r>
                      <a:t>1117.98</a:t>
                    </a:r>
                  </a:p>
                </c:rich>
              </c:tx>
              <c:dLblPos val="l"/>
              <c:showLegendKey val="0"/>
              <c:showVal val="1"/>
              <c:showCatName val="0"/>
              <c:showSerName val="0"/>
              <c:showPercent val="0"/>
              <c:showBubbleSize val="0"/>
            </c:dLbl>
            <c:dLbl>
              <c:idx val="2"/>
              <c:tx>
                <c:rich>
                  <a:bodyPr/>
                  <a:lstStyle/>
                  <a:p>
                    <a:r>
                      <a:t>IX 100</a:t>
                    </a:r>
                  </a:p>
                  <a:p>
                    <a:r>
                      <a:t>1396.4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2</a:t>
                    </a:r>
                  </a:p>
                  <a:p>
                    <a:r>
                      <a:t>6429.0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100</c:v>
                </c:pt>
                <c:pt idx="3">
                  <c:v/>
                </c:pt>
                <c:pt idx="4">
                  <c:v>IX 42</c:v>
                </c:pt>
              </c:strCache>
            </c:strRef>
          </c:cat>
          <c:val>
            <c:numRef>
              <c:f>Sheet1!$C$2:$C$6</c:f>
              <c:numCache>
                <c:formatCode>General</c:formatCode>
                <c:ptCount val="5"/>
                <c:pt idx="0">
                  <c:v>1072.76</c:v>
                </c:pt>
                <c:pt idx="1">
                  <c:v>1117.98</c:v>
                </c:pt>
                <c:pt idx="2">
                  <c:v>1396.42</c:v>
                </c:pt>
                <c:pt idx="4">
                  <c:v>6429.0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100</c:v>
                </c:pt>
                <c:pt idx="3">
                  <c:v/>
                </c:pt>
                <c:pt idx="4">
                  <c:v>IX 42</c:v>
                </c:pt>
              </c:strCache>
            </c:strRef>
          </c:cat>
          <c:val>
            <c:numRef>
              <c:f>Sheet1!$D$2:$D$6</c:f>
              <c:numCache>
                <c:formatCode>General</c:formatCode>
                <c:ptCount val="5"/>
                <c:pt idx="0">
                  <c:v>2333.36</c:v>
                </c:pt>
                <c:pt idx="1">
                  <c:v>1351.17</c:v>
                </c:pt>
                <c:pt idx="2">
                  <c:v>1432.52</c:v>
                </c:pt>
                <c:pt idx="3">
                  <c:v>1325.53</c:v>
                </c:pt>
                <c:pt idx="4">
                  <c:v>6245.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100</c:v>
                </c:pt>
                <c:pt idx="3">
                  <c:v/>
                </c:pt>
                <c:pt idx="4">
                  <c:v>IX 42</c:v>
                </c:pt>
              </c:strCache>
            </c:strRef>
          </c:cat>
          <c:val>
            <c:numRef>
              <c:f>Sheet1!$E$2:$E$6</c:f>
              <c:numCache>
                <c:formatCode>General</c:formatCode>
                <c:ptCount val="5"/>
                <c:pt idx="0">
                  <c:v>13231.08</c:v>
                </c:pt>
                <c:pt idx="1">
                  <c:v>181377.0</c:v>
                </c:pt>
                <c:pt idx="2">
                  <c:v>5878.1</c:v>
                </c:pt>
                <c:pt idx="3">
                  <c:v>2498.42</c:v>
                </c:pt>
                <c:pt idx="4">
                  <c:v>15315.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83</c:v>
                </c:pt>
                <c:pt idx="2">
                  <c:v>IX 100</c:v>
                </c:pt>
                <c:pt idx="3">
                  <c:v/>
                </c:pt>
                <c:pt idx="4">
                  <c:v>IX 42</c:v>
                </c:pt>
              </c:strCache>
            </c:strRef>
          </c:cat>
          <c:val>
            <c:numRef>
              <c:f>Sheet1!$F$2:$F$6</c:f>
              <c:numCache>
                <c:formatCode>General</c:formatCode>
                <c:ptCount val="5"/>
                <c:pt idx="0">
                  <c:v>4829.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377.5"/>
          <c:min val="1072.263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0</c:v>
                </c:pt>
                <c:pt idx="2">
                  <c:v/>
                </c:pt>
                <c:pt idx="3">
                  <c:v/>
                </c:pt>
                <c:pt idx="4">
                  <c:v/>
                </c:pt>
              </c:strCache>
            </c:strRef>
          </c:cat>
          <c:val>
            <c:numRef>
              <c:f>Sheet1!$B$2:$B$6</c:f>
              <c:numCache>
                <c:formatCode>General</c:formatCode>
                <c:ptCount val="5"/>
                <c:pt idx="0">
                  <c:v>1665.7</c:v>
                </c:pt>
                <c:pt idx="1">
                  <c:v>1379.46</c:v>
                </c:pt>
                <c:pt idx="2">
                  <c:v>1479.37</c:v>
                </c:pt>
                <c:pt idx="3">
                  <c:v>1874.5</c:v>
                </c:pt>
                <c:pt idx="4">
                  <c:v>11640.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20</a:t>
                    </a:r>
                  </a:p>
                  <a:p>
                    <a:r>
                      <a:t>4326.9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0</c:v>
                </c:pt>
                <c:pt idx="2">
                  <c:v/>
                </c:pt>
                <c:pt idx="3">
                  <c:v/>
                </c:pt>
                <c:pt idx="4">
                  <c:v/>
                </c:pt>
              </c:strCache>
            </c:strRef>
          </c:cat>
          <c:val>
            <c:numRef>
              <c:f>Sheet1!$C$2:$C$6</c:f>
              <c:numCache>
                <c:formatCode>General</c:formatCode>
                <c:ptCount val="5"/>
                <c:pt idx="1">
                  <c:v>4326.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0</c:v>
                </c:pt>
                <c:pt idx="2">
                  <c:v/>
                </c:pt>
                <c:pt idx="3">
                  <c:v/>
                </c:pt>
                <c:pt idx="4">
                  <c:v/>
                </c:pt>
              </c:strCache>
            </c:strRef>
          </c:cat>
          <c:val>
            <c:numRef>
              <c:f>Sheet1!$D$2:$D$6</c:f>
              <c:numCache>
                <c:formatCode>General</c:formatCode>
                <c:ptCount val="5"/>
                <c:pt idx="0">
                  <c:v>2333.36</c:v>
                </c:pt>
                <c:pt idx="1">
                  <c:v>1351.17</c:v>
                </c:pt>
                <c:pt idx="2">
                  <c:v>1432.52</c:v>
                </c:pt>
                <c:pt idx="3">
                  <c:v>1325.53</c:v>
                </c:pt>
                <c:pt idx="4">
                  <c:v>6245.4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0</c:v>
                </c:pt>
                <c:pt idx="2">
                  <c:v/>
                </c:pt>
                <c:pt idx="3">
                  <c:v/>
                </c:pt>
                <c:pt idx="4">
                  <c:v/>
                </c:pt>
              </c:strCache>
            </c:strRef>
          </c:cat>
          <c:val>
            <c:numRef>
              <c:f>Sheet1!$E$2:$E$6</c:f>
              <c:numCache>
                <c:formatCode>General</c:formatCode>
                <c:ptCount val="5"/>
                <c:pt idx="0">
                  <c:v>13231.08</c:v>
                </c:pt>
                <c:pt idx="1">
                  <c:v>181377.0</c:v>
                </c:pt>
                <c:pt idx="2">
                  <c:v>5878.1</c:v>
                </c:pt>
                <c:pt idx="3">
                  <c:v>2498.42</c:v>
                </c:pt>
                <c:pt idx="4">
                  <c:v>15315.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0</c:v>
                </c:pt>
                <c:pt idx="2">
                  <c:v/>
                </c:pt>
                <c:pt idx="3">
                  <c:v/>
                </c:pt>
                <c:pt idx="4">
                  <c:v/>
                </c:pt>
              </c:strCache>
            </c:strRef>
          </c:cat>
          <c:val>
            <c:numRef>
              <c:f>Sheet1!$F$2:$F$6</c:f>
              <c:numCache>
                <c:formatCode>General</c:formatCode>
                <c:ptCount val="5"/>
                <c:pt idx="0">
                  <c:v>4829.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377.5"/>
          <c:min val="1325.025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B$2:$B$5</c:f>
              <c:numCache>
                <c:formatCode>General</c:formatCode>
                <c:ptCount val="4"/>
                <c:pt idx="0">
                  <c:v>16739.15</c:v>
                </c:pt>
                <c:pt idx="1">
                  <c:v>1022.09</c:v>
                </c:pt>
                <c:pt idx="2">
                  <c:v>1535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818.18</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C$2:$C$5</c:f>
              <c:numCache>
                <c:formatCode>General</c:formatCode>
                <c:ptCount val="4"/>
                <c:pt idx="1">
                  <c:v>818.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D$2:$D$5</c:f>
              <c:numCache>
                <c:formatCode>General</c:formatCode>
                <c:ptCount val="4"/>
                <c:pt idx="0">
                  <c:v>16739.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E$2:$E$5</c:f>
              <c:numCache>
                <c:formatCode>General</c:formatCode>
                <c:ptCount val="4"/>
                <c:pt idx="2">
                  <c:v>15252.6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739.6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B$2:$B$5</c:f>
              <c:numCache>
                <c:formatCode>General</c:formatCode>
                <c:ptCount val="4"/>
                <c:pt idx="0">
                  <c:v>16739.15</c:v>
                </c:pt>
                <c:pt idx="1">
                  <c:v>1022.09</c:v>
                </c:pt>
                <c:pt idx="2">
                  <c:v>1535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C$2:$C$5</c:f>
              <c:numCache>
                <c:formatCode>General</c:formatCode>
                <c:ptCount val="4"/>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D$2:$D$5</c:f>
              <c:numCache>
                <c:formatCode>General</c:formatCode>
                <c:ptCount val="4"/>
                <c:pt idx="0">
                  <c:v>16739.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E$2:$E$5</c:f>
              <c:numCache>
                <c:formatCode>General</c:formatCode>
                <c:ptCount val="4"/>
                <c:pt idx="2">
                  <c:v>15252.6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739.6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9</c:v>
                </c:pt>
                <c:pt idx="2">
                  <c:v/>
                </c:pt>
                <c:pt idx="3">
                  <c:v/>
                </c:pt>
                <c:pt idx="4">
                  <c:v/>
                </c:pt>
              </c:strCache>
            </c:strRef>
          </c:cat>
          <c:val>
            <c:numRef>
              <c:f>Sheet1!$B$2:$B$6</c:f>
              <c:numCache>
                <c:formatCode>General</c:formatCode>
                <c:ptCount val="5"/>
                <c:pt idx="0">
                  <c:v>699.1</c:v>
                </c:pt>
                <c:pt idx="1">
                  <c:v>1369.9</c:v>
                </c:pt>
                <c:pt idx="2">
                  <c:v>1774.97</c:v>
                </c:pt>
                <c:pt idx="3">
                  <c:v>1471.63</c:v>
                </c:pt>
                <c:pt idx="4">
                  <c:v>7491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9</a:t>
                    </a:r>
                  </a:p>
                  <a:p>
                    <a:r>
                      <a:t>645.6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9</c:v>
                </c:pt>
                <c:pt idx="2">
                  <c:v/>
                </c:pt>
                <c:pt idx="3">
                  <c:v/>
                </c:pt>
                <c:pt idx="4">
                  <c:v/>
                </c:pt>
              </c:strCache>
            </c:strRef>
          </c:cat>
          <c:val>
            <c:numRef>
              <c:f>Sheet1!$C$2:$C$6</c:f>
              <c:numCache>
                <c:formatCode>General</c:formatCode>
                <c:ptCount val="5"/>
                <c:pt idx="1">
                  <c:v>645.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9</c:v>
                </c:pt>
                <c:pt idx="2">
                  <c:v/>
                </c:pt>
                <c:pt idx="3">
                  <c:v/>
                </c:pt>
                <c:pt idx="4">
                  <c:v/>
                </c:pt>
              </c:strCache>
            </c:strRef>
          </c:cat>
          <c:val>
            <c:numRef>
              <c:f>Sheet1!$D$2:$D$6</c:f>
              <c:numCache>
                <c:formatCode>General</c:formatCode>
                <c:ptCount val="5"/>
                <c:pt idx="1">
                  <c:v>1318.95</c:v>
                </c:pt>
                <c:pt idx="2">
                  <c:v>1769.7</c:v>
                </c:pt>
                <c:pt idx="3">
                  <c:v>1470.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9</c:v>
                </c:pt>
                <c:pt idx="2">
                  <c:v/>
                </c:pt>
                <c:pt idx="3">
                  <c:v/>
                </c:pt>
                <c:pt idx="4">
                  <c:v/>
                </c:pt>
              </c:strCache>
            </c:strRef>
          </c:cat>
          <c:val>
            <c:numRef>
              <c:f>Sheet1!$E$2:$E$6</c:f>
              <c:numCache>
                <c:formatCode>General</c:formatCode>
                <c:ptCount val="5"/>
                <c:pt idx="1">
                  <c:v>2521.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49</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911.5"/>
          <c:min val="645.1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76</c:v>
                </c:pt>
                <c:pt idx="2">
                  <c:v/>
                </c:pt>
                <c:pt idx="3">
                  <c:v>IX 115</c:v>
                </c:pt>
                <c:pt idx="4">
                  <c:v/>
                </c:pt>
              </c:strCache>
            </c:strRef>
          </c:cat>
          <c:val>
            <c:numRef>
              <c:f>Sheet1!$B$2:$B$6</c:f>
              <c:numCache>
                <c:formatCode>General</c:formatCode>
                <c:ptCount val="5"/>
                <c:pt idx="0">
                  <c:v>699.1</c:v>
                </c:pt>
                <c:pt idx="1">
                  <c:v>1369.9</c:v>
                </c:pt>
                <c:pt idx="2">
                  <c:v>1774.97</c:v>
                </c:pt>
                <c:pt idx="3">
                  <c:v>1471.63</c:v>
                </c:pt>
                <c:pt idx="4">
                  <c:v>7491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26.73</a:t>
                    </a:r>
                  </a:p>
                </c:rich>
              </c:tx>
              <c:dLblPos val="l"/>
              <c:showLegendKey val="0"/>
              <c:showVal val="1"/>
              <c:showCatName val="0"/>
              <c:showSerName val="0"/>
              <c:showPercent val="0"/>
              <c:showBubbleSize val="0"/>
            </c:dLbl>
            <c:dLbl>
              <c:idx val="1"/>
              <c:tx>
                <c:rich>
                  <a:bodyPr/>
                  <a:lstStyle/>
                  <a:p>
                    <a:r>
                      <a:t>IX 76</a:t>
                    </a:r>
                  </a:p>
                  <a:p>
                    <a:r>
                      <a:t>1008.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15</a:t>
                    </a:r>
                  </a:p>
                  <a:p>
                    <a:r>
                      <a:t>1685.5</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76</c:v>
                </c:pt>
                <c:pt idx="2">
                  <c:v/>
                </c:pt>
                <c:pt idx="3">
                  <c:v>IX 115</c:v>
                </c:pt>
                <c:pt idx="4">
                  <c:v/>
                </c:pt>
              </c:strCache>
            </c:strRef>
          </c:cat>
          <c:val>
            <c:numRef>
              <c:f>Sheet1!$C$2:$C$6</c:f>
              <c:numCache>
                <c:formatCode>General</c:formatCode>
                <c:ptCount val="5"/>
                <c:pt idx="0">
                  <c:v>1226.73</c:v>
                </c:pt>
                <c:pt idx="1">
                  <c:v>1008.2</c:v>
                </c:pt>
                <c:pt idx="3">
                  <c:v>168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76</c:v>
                </c:pt>
                <c:pt idx="2">
                  <c:v/>
                </c:pt>
                <c:pt idx="3">
                  <c:v>IX 115</c:v>
                </c:pt>
                <c:pt idx="4">
                  <c:v/>
                </c:pt>
              </c:strCache>
            </c:strRef>
          </c:cat>
          <c:val>
            <c:numRef>
              <c:f>Sheet1!$D$2:$D$6</c:f>
              <c:numCache>
                <c:formatCode>General</c:formatCode>
                <c:ptCount val="5"/>
                <c:pt idx="1">
                  <c:v>1318.95</c:v>
                </c:pt>
                <c:pt idx="2">
                  <c:v>1769.7</c:v>
                </c:pt>
                <c:pt idx="3">
                  <c:v>1470.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76</c:v>
                </c:pt>
                <c:pt idx="2">
                  <c:v/>
                </c:pt>
                <c:pt idx="3">
                  <c:v>IX 115</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76</c:v>
                </c:pt>
                <c:pt idx="2">
                  <c:v/>
                </c:pt>
                <c:pt idx="3">
                  <c:v>IX 115</c:v>
                </c:pt>
                <c:pt idx="4">
                  <c:v/>
                </c:pt>
              </c:strCache>
            </c:strRef>
          </c:cat>
          <c:val>
            <c:numRef>
              <c:f>Sheet1!$F$2:$F$6</c:f>
              <c:numCache>
                <c:formatCode>General</c:formatCode>
                <c:ptCount val="5"/>
                <c:pt idx="1">
                  <c:v>2521.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4911.5"/>
          <c:min val="698.6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92</c:v>
                </c:pt>
                <c:pt idx="2">
                  <c:v>IX 100</c:v>
                </c:pt>
                <c:pt idx="3">
                  <c:v/>
                </c:pt>
                <c:pt idx="4">
                  <c:v/>
                </c:pt>
              </c:strCache>
            </c:strRef>
          </c:cat>
          <c:val>
            <c:numRef>
              <c:f>Sheet1!$B$2:$B$6</c:f>
              <c:numCache>
                <c:formatCode>General</c:formatCode>
                <c:ptCount val="5"/>
                <c:pt idx="0">
                  <c:v>1678.13</c:v>
                </c:pt>
                <c:pt idx="1">
                  <c:v>1384.8</c:v>
                </c:pt>
                <c:pt idx="2">
                  <c:v>1451.22</c:v>
                </c:pt>
                <c:pt idx="3">
                  <c:v>1658.92</c:v>
                </c:pt>
                <c:pt idx="4">
                  <c:v>11328.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164.25</a:t>
                    </a:r>
                  </a:p>
                </c:rich>
              </c:tx>
              <c:dLblPos val="l"/>
              <c:showLegendKey val="0"/>
              <c:showVal val="1"/>
              <c:showCatName val="0"/>
              <c:showSerName val="0"/>
              <c:showPercent val="0"/>
              <c:showBubbleSize val="0"/>
            </c:dLbl>
            <c:dLbl>
              <c:idx val="1"/>
              <c:tx>
                <c:rich>
                  <a:bodyPr/>
                  <a:lstStyle/>
                  <a:p>
                    <a:r>
                      <a:t>IX 92</a:t>
                    </a:r>
                  </a:p>
                  <a:p>
                    <a:r>
                      <a:t>1229.11</a:t>
                    </a:r>
                  </a:p>
                </c:rich>
              </c:tx>
              <c:dLblPos val="l"/>
              <c:showLegendKey val="0"/>
              <c:showVal val="1"/>
              <c:showCatName val="0"/>
              <c:showSerName val="0"/>
              <c:showPercent val="0"/>
              <c:showBubbleSize val="0"/>
            </c:dLbl>
            <c:dLbl>
              <c:idx val="2"/>
              <c:tx>
                <c:rich>
                  <a:bodyPr/>
                  <a:lstStyle/>
                  <a:p>
                    <a:r>
                      <a:t>IX 100</a:t>
                    </a:r>
                  </a:p>
                  <a:p>
                    <a:r>
                      <a:t>1464.9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92</c:v>
                </c:pt>
                <c:pt idx="2">
                  <c:v>IX 100</c:v>
                </c:pt>
                <c:pt idx="3">
                  <c:v/>
                </c:pt>
                <c:pt idx="4">
                  <c:v/>
                </c:pt>
              </c:strCache>
            </c:strRef>
          </c:cat>
          <c:val>
            <c:numRef>
              <c:f>Sheet1!$C$2:$C$6</c:f>
              <c:numCache>
                <c:formatCode>General</c:formatCode>
                <c:ptCount val="5"/>
                <c:pt idx="0">
                  <c:v>1164.25</c:v>
                </c:pt>
                <c:pt idx="1">
                  <c:v>1229.11</c:v>
                </c:pt>
                <c:pt idx="2">
                  <c:v>1464.9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92</c:v>
                </c:pt>
                <c:pt idx="2">
                  <c:v>IX 100</c:v>
                </c:pt>
                <c:pt idx="3">
                  <c:v/>
                </c:pt>
                <c:pt idx="4">
                  <c:v/>
                </c:pt>
              </c:strCache>
            </c:strRef>
          </c:cat>
          <c:val>
            <c:numRef>
              <c:f>Sheet1!$D$2:$D$6</c:f>
              <c:numCache>
                <c:formatCode>General</c:formatCode>
                <c:ptCount val="5"/>
                <c:pt idx="0">
                  <c:v>2521.81</c:v>
                </c:pt>
                <c:pt idx="1">
                  <c:v>1335.66</c:v>
                </c:pt>
                <c:pt idx="2">
                  <c:v>1462.33</c:v>
                </c:pt>
                <c:pt idx="3">
                  <c:v>1334.39</c:v>
                </c:pt>
                <c:pt idx="4">
                  <c:v>6161.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92</c:v>
                </c:pt>
                <c:pt idx="2">
                  <c:v>IX 100</c:v>
                </c:pt>
                <c:pt idx="3">
                  <c:v/>
                </c:pt>
                <c:pt idx="4">
                  <c:v/>
                </c:pt>
              </c:strCache>
            </c:strRef>
          </c:cat>
          <c:val>
            <c:numRef>
              <c:f>Sheet1!$E$2:$E$6</c:f>
              <c:numCache>
                <c:formatCode>General</c:formatCode>
                <c:ptCount val="5"/>
                <c:pt idx="0">
                  <c:v>17300.19</c:v>
                </c:pt>
                <c:pt idx="2">
                  <c:v>7177.15</c:v>
                </c:pt>
                <c:pt idx="3">
                  <c:v>2518.06</c:v>
                </c:pt>
                <c:pt idx="4">
                  <c:v>24439.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92</c:v>
                </c:pt>
                <c:pt idx="2">
                  <c:v>IX 100</c:v>
                </c:pt>
                <c:pt idx="3">
                  <c:v/>
                </c:pt>
                <c:pt idx="4">
                  <c:v/>
                </c:pt>
              </c:strCache>
            </c:strRef>
          </c:cat>
          <c:val>
            <c:numRef>
              <c:f>Sheet1!$F$2:$F$6</c:f>
              <c:numCache>
                <c:formatCode>General</c:formatCode>
                <c:ptCount val="5"/>
                <c:pt idx="0">
                  <c:v>4599.0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440.3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83</c:v>
                </c:pt>
                <c:pt idx="2">
                  <c:v>IX 100</c:v>
                </c:pt>
                <c:pt idx="3">
                  <c:v/>
                </c:pt>
                <c:pt idx="4">
                  <c:v>IX 101</c:v>
                </c:pt>
              </c:strCache>
            </c:strRef>
          </c:cat>
          <c:val>
            <c:numRef>
              <c:f>Sheet1!$B$2:$B$6</c:f>
              <c:numCache>
                <c:formatCode>General</c:formatCode>
                <c:ptCount val="5"/>
                <c:pt idx="0">
                  <c:v>1678.13</c:v>
                </c:pt>
                <c:pt idx="1">
                  <c:v>1384.8</c:v>
                </c:pt>
                <c:pt idx="2">
                  <c:v>1451.22</c:v>
                </c:pt>
                <c:pt idx="3">
                  <c:v>1658.92</c:v>
                </c:pt>
                <c:pt idx="4">
                  <c:v>11328.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3</a:t>
                    </a:r>
                  </a:p>
                  <a:p>
                    <a:r>
                      <a:t>1083.92</a:t>
                    </a:r>
                  </a:p>
                </c:rich>
              </c:tx>
              <c:dLblPos val="l"/>
              <c:showLegendKey val="0"/>
              <c:showVal val="1"/>
              <c:showCatName val="0"/>
              <c:showSerName val="0"/>
              <c:showPercent val="0"/>
              <c:showBubbleSize val="0"/>
            </c:dLbl>
            <c:dLbl>
              <c:idx val="1"/>
              <c:tx>
                <c:rich>
                  <a:bodyPr/>
                  <a:lstStyle/>
                  <a:p>
                    <a:r>
                      <a:t>IX 83</a:t>
                    </a:r>
                  </a:p>
                  <a:p>
                    <a:r>
                      <a:t>1111.5</a:t>
                    </a:r>
                  </a:p>
                </c:rich>
              </c:tx>
              <c:dLblPos val="l"/>
              <c:showLegendKey val="0"/>
              <c:showVal val="1"/>
              <c:showCatName val="0"/>
              <c:showSerName val="0"/>
              <c:showPercent val="0"/>
              <c:showBubbleSize val="0"/>
            </c:dLbl>
            <c:dLbl>
              <c:idx val="2"/>
              <c:tx>
                <c:rich>
                  <a:bodyPr/>
                  <a:lstStyle/>
                  <a:p>
                    <a:r>
                      <a:t>IX 100</a:t>
                    </a:r>
                  </a:p>
                  <a:p>
                    <a:r>
                      <a:t>1380.5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1</a:t>
                    </a:r>
                  </a:p>
                  <a:p>
                    <a:r>
                      <a:t>6206.0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83</c:v>
                </c:pt>
                <c:pt idx="2">
                  <c:v>IX 100</c:v>
                </c:pt>
                <c:pt idx="3">
                  <c:v/>
                </c:pt>
                <c:pt idx="4">
                  <c:v>IX 101</c:v>
                </c:pt>
              </c:strCache>
            </c:strRef>
          </c:cat>
          <c:val>
            <c:numRef>
              <c:f>Sheet1!$C$2:$C$6</c:f>
              <c:numCache>
                <c:formatCode>General</c:formatCode>
                <c:ptCount val="5"/>
                <c:pt idx="0">
                  <c:v>1083.92</c:v>
                </c:pt>
                <c:pt idx="1">
                  <c:v>1111.5</c:v>
                </c:pt>
                <c:pt idx="2">
                  <c:v>1380.52</c:v>
                </c:pt>
                <c:pt idx="4">
                  <c:v>6206.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83</c:v>
                </c:pt>
                <c:pt idx="2">
                  <c:v>IX 100</c:v>
                </c:pt>
                <c:pt idx="3">
                  <c:v/>
                </c:pt>
                <c:pt idx="4">
                  <c:v>IX 101</c:v>
                </c:pt>
              </c:strCache>
            </c:strRef>
          </c:cat>
          <c:val>
            <c:numRef>
              <c:f>Sheet1!$D$2:$D$6</c:f>
              <c:numCache>
                <c:formatCode>General</c:formatCode>
                <c:ptCount val="5"/>
                <c:pt idx="0">
                  <c:v>2521.81</c:v>
                </c:pt>
                <c:pt idx="1">
                  <c:v>1335.66</c:v>
                </c:pt>
                <c:pt idx="2">
                  <c:v>1462.33</c:v>
                </c:pt>
                <c:pt idx="3">
                  <c:v>1334.39</c:v>
                </c:pt>
                <c:pt idx="4">
                  <c:v>6161.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83</c:v>
                </c:pt>
                <c:pt idx="2">
                  <c:v>IX 100</c:v>
                </c:pt>
                <c:pt idx="3">
                  <c:v/>
                </c:pt>
                <c:pt idx="4">
                  <c:v>IX 101</c:v>
                </c:pt>
              </c:strCache>
            </c:strRef>
          </c:cat>
          <c:val>
            <c:numRef>
              <c:f>Sheet1!$E$2:$E$6</c:f>
              <c:numCache>
                <c:formatCode>General</c:formatCode>
                <c:ptCount val="5"/>
                <c:pt idx="0">
                  <c:v>17300.19</c:v>
                </c:pt>
                <c:pt idx="2">
                  <c:v>7177.15</c:v>
                </c:pt>
                <c:pt idx="3">
                  <c:v>2518.06</c:v>
                </c:pt>
                <c:pt idx="4">
                  <c:v>24439.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83</c:v>
                </c:pt>
                <c:pt idx="2">
                  <c:v>IX 100</c:v>
                </c:pt>
                <c:pt idx="3">
                  <c:v/>
                </c:pt>
                <c:pt idx="4">
                  <c:v>IX 101</c:v>
                </c:pt>
              </c:strCache>
            </c:strRef>
          </c:cat>
          <c:val>
            <c:numRef>
              <c:f>Sheet1!$F$2:$F$6</c:f>
              <c:numCache>
                <c:formatCode>General</c:formatCode>
                <c:ptCount val="5"/>
                <c:pt idx="0">
                  <c:v>4599.0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440.3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B$2:$B$6</c:f>
              <c:numCache>
                <c:formatCode>General</c:formatCode>
                <c:ptCount val="5"/>
                <c:pt idx="0">
                  <c:v>1678.13</c:v>
                </c:pt>
                <c:pt idx="1">
                  <c:v>1384.8</c:v>
                </c:pt>
                <c:pt idx="2">
                  <c:v>1451.22</c:v>
                </c:pt>
                <c:pt idx="3">
                  <c:v>1658.92</c:v>
                </c:pt>
                <c:pt idx="4">
                  <c:v>11328.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24</a:t>
                    </a:r>
                  </a:p>
                  <a:p>
                    <a:r>
                      <a:t>4326.4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C$2:$C$6</c:f>
              <c:numCache>
                <c:formatCode>General</c:formatCode>
                <c:ptCount val="5"/>
                <c:pt idx="1">
                  <c:v>4326.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D$2:$D$6</c:f>
              <c:numCache>
                <c:formatCode>General</c:formatCode>
                <c:ptCount val="5"/>
                <c:pt idx="0">
                  <c:v>2521.81</c:v>
                </c:pt>
                <c:pt idx="1">
                  <c:v>1335.66</c:v>
                </c:pt>
                <c:pt idx="2">
                  <c:v>1462.33</c:v>
                </c:pt>
                <c:pt idx="3">
                  <c:v>1334.39</c:v>
                </c:pt>
                <c:pt idx="4">
                  <c:v>6161.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E$2:$E$6</c:f>
              <c:numCache>
                <c:formatCode>General</c:formatCode>
                <c:ptCount val="5"/>
                <c:pt idx="0">
                  <c:v>17300.19</c:v>
                </c:pt>
                <c:pt idx="2">
                  <c:v>7177.15</c:v>
                </c:pt>
                <c:pt idx="3">
                  <c:v>2518.06</c:v>
                </c:pt>
                <c:pt idx="4">
                  <c:v>24439.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4</c:v>
                </c:pt>
                <c:pt idx="2">
                  <c:v/>
                </c:pt>
                <c:pt idx="3">
                  <c:v/>
                </c:pt>
                <c:pt idx="4">
                  <c:v/>
                </c:pt>
              </c:strCache>
            </c:strRef>
          </c:cat>
          <c:val>
            <c:numRef>
              <c:f>Sheet1!$F$2:$F$6</c:f>
              <c:numCache>
                <c:formatCode>General</c:formatCode>
                <c:ptCount val="5"/>
                <c:pt idx="0">
                  <c:v>4599.0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440.3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B$2:$B$5</c:f>
              <c:numCache>
                <c:formatCode>General</c:formatCode>
                <c:ptCount val="4"/>
                <c:pt idx="0">
                  <c:v>1055.39</c:v>
                </c:pt>
                <c:pt idx="3">
                  <c:v>19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184.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C$2:$C$5</c:f>
              <c:numCache>
                <c:formatCode>General</c:formatCode>
                <c:ptCount val="4"/>
                <c:pt idx="0">
                  <c:v>1184.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 Roche-Posay</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D$2:$D$5</c:f>
              <c:numCache>
                <c:formatCode>General</c:formatCode>
                <c:ptCount val="4"/>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10.666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100</c:v>
                </c:pt>
                <c:pt idx="2">
                  <c:v>IX 100</c:v>
                </c:pt>
                <c:pt idx="3">
                  <c:v/>
                </c:pt>
              </c:strCache>
            </c:strRef>
          </c:cat>
          <c:val>
            <c:numRef>
              <c:f>Sheet1!$B$2:$B$5</c:f>
              <c:numCache>
                <c:formatCode>General</c:formatCode>
                <c:ptCount val="4"/>
                <c:pt idx="0">
                  <c:v>1556.59</c:v>
                </c:pt>
                <c:pt idx="1">
                  <c:v>1285.12</c:v>
                </c:pt>
                <c:pt idx="2">
                  <c:v>680.29</c:v>
                </c:pt>
                <c:pt idx="3">
                  <c:v>1723.7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7</a:t>
                    </a:r>
                  </a:p>
                  <a:p>
                    <a:r>
                      <a:t>1377.19</a:t>
                    </a:r>
                  </a:p>
                </c:rich>
              </c:tx>
              <c:dLblPos val="l"/>
              <c:showLegendKey val="0"/>
              <c:showVal val="1"/>
              <c:showCatName val="0"/>
              <c:showSerName val="0"/>
              <c:showPercent val="0"/>
              <c:showBubbleSize val="0"/>
            </c:dLbl>
            <c:dLbl>
              <c:idx val="1"/>
              <c:tx>
                <c:rich>
                  <a:bodyPr/>
                  <a:lstStyle/>
                  <a:p>
                    <a:r>
                      <a:t>IX 100</a:t>
                    </a:r>
                  </a:p>
                  <a:p>
                    <a:r>
                      <a:t>1196.91</a:t>
                    </a:r>
                  </a:p>
                </c:rich>
              </c:tx>
              <c:dLblPos val="l"/>
              <c:showLegendKey val="0"/>
              <c:showVal val="1"/>
              <c:showCatName val="0"/>
              <c:showSerName val="0"/>
              <c:showPercent val="0"/>
              <c:showBubbleSize val="0"/>
            </c:dLbl>
            <c:dLbl>
              <c:idx val="2"/>
              <c:tx>
                <c:rich>
                  <a:bodyPr/>
                  <a:lstStyle/>
                  <a:p>
                    <a:r>
                      <a:t>IX 100</a:t>
                    </a:r>
                  </a:p>
                  <a:p>
                    <a:r>
                      <a:t>588.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100</c:v>
                </c:pt>
                <c:pt idx="2">
                  <c:v>IX 100</c:v>
                </c:pt>
                <c:pt idx="3">
                  <c:v/>
                </c:pt>
              </c:strCache>
            </c:strRef>
          </c:cat>
          <c:val>
            <c:numRef>
              <c:f>Sheet1!$C$2:$C$5</c:f>
              <c:numCache>
                <c:formatCode>General</c:formatCode>
                <c:ptCount val="4"/>
                <c:pt idx="0">
                  <c:v>1377.19</c:v>
                </c:pt>
                <c:pt idx="1">
                  <c:v>1196.91</c:v>
                </c:pt>
                <c:pt idx="2">
                  <c:v>588.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100</c:v>
                </c:pt>
                <c:pt idx="2">
                  <c:v>IX 100</c:v>
                </c:pt>
                <c:pt idx="3">
                  <c:v/>
                </c:pt>
              </c:strCache>
            </c:strRef>
          </c:cat>
          <c:val>
            <c:numRef>
              <c:f>Sheet1!$D$2:$D$5</c:f>
              <c:numCache>
                <c:formatCode>General</c:formatCode>
                <c:ptCount val="4"/>
                <c:pt idx="0">
                  <c:v>1790.48</c:v>
                </c:pt>
                <c:pt idx="1">
                  <c:v>1385.78</c:v>
                </c:pt>
                <c:pt idx="2">
                  <c:v>603.34</c:v>
                </c:pt>
                <c:pt idx="3">
                  <c:v>26468.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100</c:v>
                </c:pt>
                <c:pt idx="2">
                  <c:v>IX 100</c:v>
                </c:pt>
                <c:pt idx="3">
                  <c:v/>
                </c:pt>
              </c:strCache>
            </c:strRef>
          </c:cat>
          <c:val>
            <c:numRef>
              <c:f>Sheet1!$E$2:$E$5</c:f>
              <c:numCache>
                <c:formatCode>General</c:formatCode>
                <c:ptCount val="4"/>
                <c:pt idx="0">
                  <c:v>3297.49</c:v>
                </c:pt>
                <c:pt idx="3">
                  <c:v>6937.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7</c:v>
                </c:pt>
                <c:pt idx="1">
                  <c:v>IX 100</c:v>
                </c:pt>
                <c:pt idx="2">
                  <c:v>IX 100</c:v>
                </c:pt>
                <c:pt idx="3">
                  <c:v/>
                </c:pt>
              </c:strCache>
            </c:strRef>
          </c:cat>
          <c:val>
            <c:numRef>
              <c:f>Sheet1!$F$2:$F$5</c:f>
              <c:numCache>
                <c:formatCode>General</c:formatCode>
                <c:ptCount val="4"/>
                <c:pt idx="0">
                  <c:v>1879.6</c:v>
                </c:pt>
                <c:pt idx="1">
                  <c:v>1175.46</c:v>
                </c:pt>
                <c:pt idx="2">
                  <c:v>970.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468.5"/>
          <c:min val="588.33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0">
                  <c:v>1055.39</c:v>
                </c:pt>
                <c:pt idx="3">
                  <c:v>19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910.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1910.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 Roche-Posay</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10.666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0</c:v>
                </c:pt>
                <c:pt idx="1">
                  <c:v/>
                </c:pt>
                <c:pt idx="2">
                  <c:v/>
                </c:pt>
                <c:pt idx="3">
                  <c:v/>
                </c:pt>
                <c:pt idx="4">
                  <c:v/>
                </c:pt>
              </c:strCache>
            </c:strRef>
          </c:cat>
          <c:val>
            <c:numRef>
              <c:f>Sheet1!$B$2:$B$6</c:f>
              <c:numCache>
                <c:formatCode>General</c:formatCode>
                <c:ptCount val="5"/>
                <c:pt idx="0">
                  <c:v>1343.6</c:v>
                </c:pt>
                <c:pt idx="1">
                  <c:v>727.51</c:v>
                </c:pt>
                <c:pt idx="2">
                  <c:v>1811.1</c:v>
                </c:pt>
                <c:pt idx="3">
                  <c:v>1350.0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533.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0</c:v>
                </c:pt>
                <c:pt idx="1">
                  <c:v/>
                </c:pt>
                <c:pt idx="2">
                  <c:v/>
                </c:pt>
                <c:pt idx="3">
                  <c:v/>
                </c:pt>
                <c:pt idx="4">
                  <c:v/>
                </c:pt>
              </c:strCache>
            </c:strRef>
          </c:cat>
          <c:val>
            <c:numRef>
              <c:f>Sheet1!$C$2:$C$6</c:f>
              <c:numCache>
                <c:formatCode>General</c:formatCode>
                <c:ptCount val="5"/>
                <c:pt idx="0">
                  <c:v>533.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0</c:v>
                </c:pt>
                <c:pt idx="1">
                  <c:v/>
                </c:pt>
                <c:pt idx="2">
                  <c:v/>
                </c:pt>
                <c:pt idx="3">
                  <c:v/>
                </c:pt>
                <c:pt idx="4">
                  <c:v/>
                </c:pt>
              </c:strCache>
            </c:strRef>
          </c:cat>
          <c:val>
            <c:numRef>
              <c:f>Sheet1!$D$2:$D$6</c:f>
              <c:numCache>
                <c:formatCode>General</c:formatCode>
                <c:ptCount val="5"/>
                <c:pt idx="0">
                  <c:v>1333.3</c:v>
                </c:pt>
                <c:pt idx="2">
                  <c:v>1811.1</c:v>
                </c:pt>
                <c:pt idx="3">
                  <c:v>1345.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0</c:v>
                </c:pt>
                <c:pt idx="1">
                  <c:v/>
                </c:pt>
                <c:pt idx="2">
                  <c:v/>
                </c:pt>
                <c:pt idx="3">
                  <c:v/>
                </c:pt>
                <c:pt idx="4">
                  <c:v/>
                </c:pt>
              </c:strCache>
            </c:strRef>
          </c:cat>
          <c:val>
            <c:numRef>
              <c:f>Sheet1!$E$2:$E$6</c:f>
              <c:numCache>
                <c:formatCode>General</c:formatCode>
                <c:ptCount val="5"/>
                <c:pt idx="0">
                  <c:v>3543.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0</c:v>
                </c:pt>
                <c:pt idx="1">
                  <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43.625"/>
          <c:min val="532.7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100</c:v>
                </c:pt>
                <c:pt idx="2">
                  <c:v/>
                </c:pt>
                <c:pt idx="3">
                  <c:v>IX 115</c:v>
                </c:pt>
                <c:pt idx="4">
                  <c:v/>
                </c:pt>
              </c:strCache>
            </c:strRef>
          </c:cat>
          <c:val>
            <c:numRef>
              <c:f>Sheet1!$B$2:$B$6</c:f>
              <c:numCache>
                <c:formatCode>General</c:formatCode>
                <c:ptCount val="5"/>
                <c:pt idx="0">
                  <c:v>1343.6</c:v>
                </c:pt>
                <c:pt idx="1">
                  <c:v>727.51</c:v>
                </c:pt>
                <c:pt idx="2">
                  <c:v>1811.1</c:v>
                </c:pt>
                <c:pt idx="3">
                  <c:v>1350.0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9</a:t>
                    </a:r>
                  </a:p>
                  <a:p>
                    <a:r>
                      <a:t>647.1</a:t>
                    </a:r>
                  </a:p>
                </c:rich>
              </c:tx>
              <c:dLblPos val="l"/>
              <c:showLegendKey val="0"/>
              <c:showVal val="1"/>
              <c:showCatName val="0"/>
              <c:showSerName val="0"/>
              <c:showPercent val="0"/>
              <c:showBubbleSize val="0"/>
            </c:dLbl>
            <c:dLbl>
              <c:idx val="1"/>
              <c:tx>
                <c:rich>
                  <a:bodyPr/>
                  <a:lstStyle/>
                  <a:p>
                    <a:r>
                      <a:t>IX 100</a:t>
                    </a:r>
                  </a:p>
                  <a:p>
                    <a:r>
                      <a:t>1102.7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15</a:t>
                    </a:r>
                  </a:p>
                  <a:p>
                    <a:r>
                      <a:t>1543.4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100</c:v>
                </c:pt>
                <c:pt idx="2">
                  <c:v/>
                </c:pt>
                <c:pt idx="3">
                  <c:v>IX 115</c:v>
                </c:pt>
                <c:pt idx="4">
                  <c:v/>
                </c:pt>
              </c:strCache>
            </c:strRef>
          </c:cat>
          <c:val>
            <c:numRef>
              <c:f>Sheet1!$C$2:$C$6</c:f>
              <c:numCache>
                <c:formatCode>General</c:formatCode>
                <c:ptCount val="5"/>
                <c:pt idx="0">
                  <c:v>647.1</c:v>
                </c:pt>
                <c:pt idx="1">
                  <c:v>1102.77</c:v>
                </c:pt>
                <c:pt idx="3">
                  <c:v>1543.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100</c:v>
                </c:pt>
                <c:pt idx="2">
                  <c:v/>
                </c:pt>
                <c:pt idx="3">
                  <c:v>IX 115</c:v>
                </c:pt>
                <c:pt idx="4">
                  <c:v/>
                </c:pt>
              </c:strCache>
            </c:strRef>
          </c:cat>
          <c:val>
            <c:numRef>
              <c:f>Sheet1!$D$2:$D$6</c:f>
              <c:numCache>
                <c:formatCode>General</c:formatCode>
                <c:ptCount val="5"/>
                <c:pt idx="0">
                  <c:v>1333.3</c:v>
                </c:pt>
                <c:pt idx="2">
                  <c:v>1811.1</c:v>
                </c:pt>
                <c:pt idx="3">
                  <c:v>1345.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100</c:v>
                </c:pt>
                <c:pt idx="2">
                  <c:v/>
                </c:pt>
                <c:pt idx="3">
                  <c:v>IX 115</c:v>
                </c:pt>
                <c:pt idx="4">
                  <c:v/>
                </c:pt>
              </c:strCache>
            </c:strRef>
          </c:cat>
          <c:val>
            <c:numRef>
              <c:f>Sheet1!$E$2:$E$6</c:f>
              <c:numCache>
                <c:formatCode>General</c:formatCode>
                <c:ptCount val="5"/>
                <c:pt idx="0">
                  <c:v>3543.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100</c:v>
                </c:pt>
                <c:pt idx="2">
                  <c:v/>
                </c:pt>
                <c:pt idx="3">
                  <c:v>IX 115</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43.625"/>
          <c:min val="64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48</c:v>
                </c:pt>
              </c:strCache>
            </c:strRef>
          </c:cat>
          <c:val>
            <c:numRef>
              <c:f>Sheet1!$B$2:$B$6</c:f>
              <c:numCache>
                <c:formatCode>General</c:formatCode>
                <c:ptCount val="5"/>
                <c:pt idx="0">
                  <c:v>1965.78</c:v>
                </c:pt>
                <c:pt idx="1">
                  <c:v>1527.12</c:v>
                </c:pt>
                <c:pt idx="2">
                  <c:v>1638.76</c:v>
                </c:pt>
                <c:pt idx="3">
                  <c:v>1967.5</c:v>
                </c:pt>
                <c:pt idx="4">
                  <c:v>12022.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225.77</a:t>
                    </a:r>
                  </a:p>
                </c:rich>
              </c:tx>
              <c:dLblPos val="l"/>
              <c:showLegendKey val="0"/>
              <c:showVal val="1"/>
              <c:showCatName val="0"/>
              <c:showSerName val="0"/>
              <c:showPercent val="0"/>
              <c:showBubbleSize val="0"/>
            </c:dLbl>
            <c:dLbl>
              <c:idx val="1"/>
              <c:tx>
                <c:rich>
                  <a:bodyPr/>
                  <a:lstStyle/>
                  <a:p>
                    <a:r>
                      <a:t>IX 100</a:t>
                    </a:r>
                  </a:p>
                  <a:p>
                    <a:r>
                      <a:t>1392.83</a:t>
                    </a:r>
                  </a:p>
                </c:rich>
              </c:tx>
              <c:dLblPos val="l"/>
              <c:showLegendKey val="0"/>
              <c:showVal val="1"/>
              <c:showCatName val="0"/>
              <c:showSerName val="0"/>
              <c:showPercent val="0"/>
              <c:showBubbleSize val="0"/>
            </c:dLbl>
            <c:dLbl>
              <c:idx val="2"/>
              <c:tx>
                <c:rich>
                  <a:bodyPr/>
                  <a:lstStyle/>
                  <a:p>
                    <a:r>
                      <a:t>IX 100</a:t>
                    </a:r>
                  </a:p>
                  <a:p>
                    <a:r>
                      <a:t>1526.0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8</a:t>
                    </a:r>
                  </a:p>
                  <a:p>
                    <a:r>
                      <a:t>6153.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48</c:v>
                </c:pt>
              </c:strCache>
            </c:strRef>
          </c:cat>
          <c:val>
            <c:numRef>
              <c:f>Sheet1!$C$2:$C$6</c:f>
              <c:numCache>
                <c:formatCode>General</c:formatCode>
                <c:ptCount val="5"/>
                <c:pt idx="0">
                  <c:v>1225.77</c:v>
                </c:pt>
                <c:pt idx="1">
                  <c:v>1392.83</c:v>
                </c:pt>
                <c:pt idx="2">
                  <c:v>1526.05</c:v>
                </c:pt>
                <c:pt idx="4">
                  <c:v>615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48</c:v>
                </c:pt>
              </c:strCache>
            </c:strRef>
          </c:cat>
          <c:val>
            <c:numRef>
              <c:f>Sheet1!$D$2:$D$6</c:f>
              <c:numCache>
                <c:formatCode>General</c:formatCode>
                <c:ptCount val="5"/>
                <c:pt idx="0">
                  <c:v>2800.86</c:v>
                </c:pt>
                <c:pt idx="1">
                  <c:v>1478.89</c:v>
                </c:pt>
                <c:pt idx="2">
                  <c:v>1731.42</c:v>
                </c:pt>
                <c:pt idx="3">
                  <c:v>1702.14</c:v>
                </c:pt>
                <c:pt idx="4">
                  <c:v>8560.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48</c:v>
                </c:pt>
              </c:strCache>
            </c:strRef>
          </c:cat>
          <c:val>
            <c:numRef>
              <c:f>Sheet1!$E$2:$E$6</c:f>
              <c:numCache>
                <c:formatCode>General</c:formatCode>
                <c:ptCount val="5"/>
                <c:pt idx="0">
                  <c:v>13002.19</c:v>
                </c:pt>
                <c:pt idx="1">
                  <c:v>18108.84</c:v>
                </c:pt>
                <c:pt idx="2">
                  <c:v>6237.94</c:v>
                </c:pt>
                <c:pt idx="3">
                  <c:v>2647.89</c:v>
                </c:pt>
                <c:pt idx="4">
                  <c:v>14100.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48</c:v>
                </c:pt>
              </c:strCache>
            </c:strRef>
          </c:cat>
          <c:val>
            <c:numRef>
              <c:f>Sheet1!$F$2:$F$6</c:f>
              <c:numCache>
                <c:formatCode>General</c:formatCode>
                <c:ptCount val="5"/>
                <c:pt idx="0">
                  <c:v>7137.36</c:v>
                </c:pt>
                <c:pt idx="1">
                  <c:v>7425.09</c:v>
                </c:pt>
                <c:pt idx="2">
                  <c:v>4383.26</c:v>
                </c:pt>
                <c:pt idx="3">
                  <c:v>12267.32</c:v>
                </c:pt>
                <c:pt idx="4">
                  <c:v>12862.3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09.3375"/>
          <c:min val="1225.26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IX 100</c:v>
                </c:pt>
                <c:pt idx="4">
                  <c:v/>
                </c:pt>
              </c:strCache>
            </c:strRef>
          </c:cat>
          <c:val>
            <c:numRef>
              <c:f>Sheet1!$B$2:$B$6</c:f>
              <c:numCache>
                <c:formatCode>General</c:formatCode>
                <c:ptCount val="5"/>
                <c:pt idx="0">
                  <c:v>14996.85</c:v>
                </c:pt>
                <c:pt idx="1">
                  <c:v>1535.15</c:v>
                </c:pt>
                <c:pt idx="2">
                  <c:v>11298.25</c:v>
                </c:pt>
                <c:pt idx="3">
                  <c:v>3215.1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179.69</a:t>
                    </a:r>
                  </a:p>
                </c:rich>
              </c:tx>
              <c:dLblPos val="l"/>
              <c:showLegendKey val="0"/>
              <c:showVal val="1"/>
              <c:showCatName val="0"/>
              <c:showSerName val="0"/>
              <c:showPercent val="0"/>
              <c:showBubbleSize val="0"/>
            </c:dLbl>
            <c:dLbl>
              <c:idx val="2"/>
              <c:tx>
                <c:rich>
                  <a:bodyPr/>
                  <a:lstStyle/>
                  <a:p>
                    <a:r>
                      <a:t>IX 7</a:t>
                    </a:r>
                  </a:p>
                  <a:p>
                    <a:r>
                      <a:t>1210.84</a:t>
                    </a:r>
                  </a:p>
                </c:rich>
              </c:tx>
              <c:dLblPos val="l"/>
              <c:showLegendKey val="0"/>
              <c:showVal val="1"/>
              <c:showCatName val="0"/>
              <c:showSerName val="0"/>
              <c:showPercent val="0"/>
              <c:showBubbleSize val="0"/>
            </c:dLbl>
            <c:dLbl>
              <c:idx val="3"/>
              <c:tx>
                <c:rich>
                  <a:bodyPr/>
                  <a:lstStyle/>
                  <a:p>
                    <a:r>
                      <a:t>IX 100</a:t>
                    </a:r>
                  </a:p>
                  <a:p>
                    <a:r>
                      <a:t>3215.14</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IX 100</c:v>
                </c:pt>
                <c:pt idx="4">
                  <c:v/>
                </c:pt>
              </c:strCache>
            </c:strRef>
          </c:cat>
          <c:val>
            <c:numRef>
              <c:f>Sheet1!$C$2:$C$6</c:f>
              <c:numCache>
                <c:formatCode>General</c:formatCode>
                <c:ptCount val="5"/>
                <c:pt idx="1">
                  <c:v>1179.69</c:v>
                </c:pt>
                <c:pt idx="2">
                  <c:v>1210.84</c:v>
                </c:pt>
                <c:pt idx="3">
                  <c:v>3215.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IX 100</c:v>
                </c:pt>
                <c:pt idx="4">
                  <c:v/>
                </c:pt>
              </c:strCache>
            </c:strRef>
          </c:cat>
          <c:val>
            <c:numRef>
              <c:f>Sheet1!$D$2:$D$6</c:f>
              <c:numCache>
                <c:formatCode>General</c:formatCode>
                <c:ptCount val="5"/>
                <c:pt idx="0">
                  <c:v>14996.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IX 100</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IX 100</c:v>
                </c:pt>
                <c:pt idx="4">
                  <c:v/>
                </c:pt>
              </c:strCache>
            </c:strRef>
          </c:cat>
          <c:val>
            <c:numRef>
              <c:f>Sheet1!$F$2:$F$6</c:f>
              <c:numCache>
                <c:formatCode>General</c:formatCode>
                <c:ptCount val="5"/>
                <c:pt idx="2">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1179.18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8</c:v>
                </c:pt>
                <c:pt idx="2">
                  <c:v/>
                </c:pt>
                <c:pt idx="3">
                  <c:v>IX 179</c:v>
                </c:pt>
                <c:pt idx="4">
                  <c:v/>
                </c:pt>
              </c:strCache>
            </c:strRef>
          </c:cat>
          <c:val>
            <c:numRef>
              <c:f>Sheet1!$B$2:$B$6</c:f>
              <c:numCache>
                <c:formatCode>General</c:formatCode>
                <c:ptCount val="5"/>
                <c:pt idx="0">
                  <c:v>771.99</c:v>
                </c:pt>
                <c:pt idx="1">
                  <c:v>1491.26</c:v>
                </c:pt>
                <c:pt idx="2">
                  <c:v>1884.37</c:v>
                </c:pt>
                <c:pt idx="3">
                  <c:v>1775.11</c:v>
                </c:pt>
                <c:pt idx="4">
                  <c:v>37176.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34.96</a:t>
                    </a:r>
                  </a:p>
                </c:rich>
              </c:tx>
              <c:dLblPos val="l"/>
              <c:showLegendKey val="0"/>
              <c:showVal val="1"/>
              <c:showCatName val="0"/>
              <c:showSerName val="0"/>
              <c:showPercent val="0"/>
              <c:showBubbleSize val="0"/>
            </c:dLbl>
            <c:dLbl>
              <c:idx val="1"/>
              <c:tx>
                <c:rich>
                  <a:bodyPr/>
                  <a:lstStyle/>
                  <a:p>
                    <a:r>
                      <a:t>IX 58</a:t>
                    </a:r>
                  </a:p>
                  <a:p>
                    <a:r>
                      <a:t>842.9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79</a:t>
                    </a:r>
                  </a:p>
                  <a:p>
                    <a:r>
                      <a:t>3138.4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8</c:v>
                </c:pt>
                <c:pt idx="2">
                  <c:v/>
                </c:pt>
                <c:pt idx="3">
                  <c:v>IX 179</c:v>
                </c:pt>
                <c:pt idx="4">
                  <c:v/>
                </c:pt>
              </c:strCache>
            </c:strRef>
          </c:cat>
          <c:val>
            <c:numRef>
              <c:f>Sheet1!$C$2:$C$6</c:f>
              <c:numCache>
                <c:formatCode>General</c:formatCode>
                <c:ptCount val="5"/>
                <c:pt idx="0">
                  <c:v>1334.96</c:v>
                </c:pt>
                <c:pt idx="1">
                  <c:v>842.92</c:v>
                </c:pt>
                <c:pt idx="3">
                  <c:v>3138.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oderm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8</c:v>
                </c:pt>
                <c:pt idx="2">
                  <c:v/>
                </c:pt>
                <c:pt idx="3">
                  <c:v>IX 179</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8</c:v>
                </c:pt>
                <c:pt idx="2">
                  <c:v/>
                </c:pt>
                <c:pt idx="3">
                  <c:v>IX 179</c:v>
                </c:pt>
                <c:pt idx="4">
                  <c:v/>
                </c:pt>
              </c:strCache>
            </c:strRef>
          </c:cat>
          <c:val>
            <c:numRef>
              <c:f>Sheet1!$E$2:$E$6</c:f>
              <c:numCache>
                <c:formatCode>General</c:formatCode>
                <c:ptCount val="5"/>
                <c:pt idx="1">
                  <c:v>2616.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iersdorf</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8</c:v>
                </c:pt>
                <c:pt idx="2">
                  <c:v/>
                </c:pt>
                <c:pt idx="3">
                  <c:v>IX 179</c:v>
                </c:pt>
                <c:pt idx="4">
                  <c:v/>
                </c:pt>
              </c:strCache>
            </c:strRef>
          </c:cat>
          <c:val>
            <c:numRef>
              <c:f>Sheet1!$F$2:$F$6</c:f>
              <c:numCache>
                <c:formatCode>General</c:formatCode>
                <c:ptCount val="5"/>
                <c:pt idx="1">
                  <c:v>1445.91</c:v>
                </c:pt>
                <c:pt idx="2">
                  <c:v>1881.34</c:v>
                </c:pt>
                <c:pt idx="3">
                  <c:v>1756.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176.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7</c:v>
                </c:pt>
              </c:strCache>
            </c:strRef>
          </c:cat>
          <c:val>
            <c:numRef>
              <c:f>Sheet1!$B$2:$B$6</c:f>
              <c:numCache>
                <c:formatCode>General</c:formatCode>
                <c:ptCount val="5"/>
                <c:pt idx="0">
                  <c:v>2053.17</c:v>
                </c:pt>
                <c:pt idx="1">
                  <c:v>1585.27</c:v>
                </c:pt>
                <c:pt idx="2">
                  <c:v>1996.59</c:v>
                </c:pt>
                <c:pt idx="3">
                  <c:v>1628.44</c:v>
                </c:pt>
                <c:pt idx="4">
                  <c:v>11170.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254.85</a:t>
                    </a:r>
                  </a:p>
                </c:rich>
              </c:tx>
              <c:dLblPos val="l"/>
              <c:showLegendKey val="0"/>
              <c:showVal val="1"/>
              <c:showCatName val="0"/>
              <c:showSerName val="0"/>
              <c:showPercent val="0"/>
              <c:showBubbleSize val="0"/>
            </c:dLbl>
            <c:dLbl>
              <c:idx val="1"/>
              <c:tx>
                <c:rich>
                  <a:bodyPr/>
                  <a:lstStyle/>
                  <a:p>
                    <a:r>
                      <a:t>IX 100</a:t>
                    </a:r>
                  </a:p>
                  <a:p>
                    <a:r>
                      <a:t>1436.6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462.7</a:t>
                    </a:r>
                  </a:p>
                </c:rich>
              </c:tx>
              <c:dLblPos val="l"/>
              <c:showLegendKey val="0"/>
              <c:showVal val="1"/>
              <c:showCatName val="0"/>
              <c:showSerName val="0"/>
              <c:showPercent val="0"/>
              <c:showBubbleSize val="0"/>
            </c:dLbl>
            <c:dLbl>
              <c:idx val="4"/>
              <c:tx>
                <c:rich>
                  <a:bodyPr/>
                  <a:lstStyle/>
                  <a:p>
                    <a:r>
                      <a:t>IX 67</a:t>
                    </a:r>
                  </a:p>
                  <a:p>
                    <a:r>
                      <a:t>5781.8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7</c:v>
                </c:pt>
              </c:strCache>
            </c:strRef>
          </c:cat>
          <c:val>
            <c:numRef>
              <c:f>Sheet1!$C$2:$C$6</c:f>
              <c:numCache>
                <c:formatCode>General</c:formatCode>
                <c:ptCount val="5"/>
                <c:pt idx="0">
                  <c:v>1254.85</c:v>
                </c:pt>
                <c:pt idx="1">
                  <c:v>1436.69</c:v>
                </c:pt>
                <c:pt idx="3">
                  <c:v>1462.7</c:v>
                </c:pt>
                <c:pt idx="4">
                  <c:v>5781.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7</c:v>
                </c:pt>
              </c:strCache>
            </c:strRef>
          </c:cat>
          <c:val>
            <c:numRef>
              <c:f>Sheet1!$D$2:$D$6</c:f>
              <c:numCache>
                <c:formatCode>General</c:formatCode>
                <c:ptCount val="5"/>
                <c:pt idx="0">
                  <c:v>2839.12</c:v>
                </c:pt>
                <c:pt idx="1">
                  <c:v>1519.03</c:v>
                </c:pt>
                <c:pt idx="2">
                  <c:v>1778.36</c:v>
                </c:pt>
                <c:pt idx="3">
                  <c:v>1735.56</c:v>
                </c:pt>
                <c:pt idx="4">
                  <c:v>8631.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7</c:v>
                </c:pt>
              </c:strCache>
            </c:strRef>
          </c:cat>
          <c:val>
            <c:numRef>
              <c:f>Sheet1!$E$2:$E$6</c:f>
              <c:numCache>
                <c:formatCode>General</c:formatCode>
                <c:ptCount val="5"/>
                <c:pt idx="0">
                  <c:v>12625.16</c:v>
                </c:pt>
                <c:pt idx="1">
                  <c:v>12108.5</c:v>
                </c:pt>
                <c:pt idx="2">
                  <c:v>2561.55</c:v>
                </c:pt>
                <c:pt idx="3">
                  <c:v>5972.38</c:v>
                </c:pt>
                <c:pt idx="4">
                  <c:v>12896.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7</c:v>
                </c:pt>
              </c:strCache>
            </c:strRef>
          </c:cat>
          <c:val>
            <c:numRef>
              <c:f>Sheet1!$F$2:$F$6</c:f>
              <c:numCache>
                <c:formatCode>General</c:formatCode>
                <c:ptCount val="5"/>
                <c:pt idx="0">
                  <c:v>6837.56</c:v>
                </c:pt>
                <c:pt idx="1">
                  <c:v>7290.9</c:v>
                </c:pt>
                <c:pt idx="2">
                  <c:v>12431.64</c:v>
                </c:pt>
                <c:pt idx="4">
                  <c:v>12632.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897.276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B$2:$B$5</c:f>
              <c:numCache>
                <c:formatCode>General</c:formatCode>
                <c:ptCount val="4"/>
                <c:pt idx="0">
                  <c:v>11151.36</c:v>
                </c:pt>
                <c:pt idx="1">
                  <c:v>1708.18</c:v>
                </c:pt>
                <c:pt idx="2">
                  <c:v>18163.38</c:v>
                </c:pt>
                <c:pt idx="3">
                  <c:v>3625.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397.3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625.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C$2:$C$5</c:f>
              <c:numCache>
                <c:formatCode>General</c:formatCode>
                <c:ptCount val="4"/>
                <c:pt idx="1">
                  <c:v>1397.31</c:v>
                </c:pt>
                <c:pt idx="3">
                  <c:v>362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D$2:$D$5</c:f>
              <c:numCache>
                <c:formatCode>General</c:formatCode>
                <c:ptCount val="4"/>
                <c:pt idx="0">
                  <c:v>11151.3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100</c:v>
                </c:pt>
              </c:strCache>
            </c:strRef>
          </c:cat>
          <c:val>
            <c:numRef>
              <c:f>Sheet1!$F$2:$F$5</c:f>
              <c:numCache>
                <c:formatCode>General</c:formatCode>
                <c:ptCount val="4"/>
                <c:pt idx="2">
                  <c:v>18163.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396.8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5</c:v>
                </c:pt>
                <c:pt idx="1">
                  <c:v>IX 100</c:v>
                </c:pt>
                <c:pt idx="2">
                  <c:v/>
                </c:pt>
                <c:pt idx="3">
                  <c:v>IX 107</c:v>
                </c:pt>
                <c:pt idx="4">
                  <c:v/>
                </c:pt>
              </c:strCache>
            </c:strRef>
          </c:cat>
          <c:val>
            <c:numRef>
              <c:f>Sheet1!$B$2:$B$6</c:f>
              <c:numCache>
                <c:formatCode>General</c:formatCode>
                <c:ptCount val="5"/>
                <c:pt idx="0">
                  <c:v>1502.41</c:v>
                </c:pt>
                <c:pt idx="1">
                  <c:v>736.2</c:v>
                </c:pt>
                <c:pt idx="2">
                  <c:v>1964.35</c:v>
                </c:pt>
                <c:pt idx="3">
                  <c:v>1796.1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5</a:t>
                    </a:r>
                  </a:p>
                  <a:p>
                    <a:r>
                      <a:t>819.25</a:t>
                    </a:r>
                  </a:p>
                </c:rich>
              </c:tx>
              <c:dLblPos val="l"/>
              <c:showLegendKey val="0"/>
              <c:showVal val="1"/>
              <c:showCatName val="0"/>
              <c:showSerName val="0"/>
              <c:showPercent val="0"/>
              <c:showBubbleSize val="0"/>
            </c:dLbl>
            <c:dLbl>
              <c:idx val="1"/>
              <c:tx>
                <c:rich>
                  <a:bodyPr/>
                  <a:lstStyle/>
                  <a:p>
                    <a:r>
                      <a:t>IX 100</a:t>
                    </a:r>
                  </a:p>
                  <a:p>
                    <a:r>
                      <a:t>1339.9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7</a:t>
                    </a:r>
                  </a:p>
                  <a:p>
                    <a:r>
                      <a:t>1916.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5</c:v>
                </c:pt>
                <c:pt idx="1">
                  <c:v>IX 100</c:v>
                </c:pt>
                <c:pt idx="2">
                  <c:v/>
                </c:pt>
                <c:pt idx="3">
                  <c:v>IX 107</c:v>
                </c:pt>
                <c:pt idx="4">
                  <c:v/>
                </c:pt>
              </c:strCache>
            </c:strRef>
          </c:cat>
          <c:val>
            <c:numRef>
              <c:f>Sheet1!$C$2:$C$6</c:f>
              <c:numCache>
                <c:formatCode>General</c:formatCode>
                <c:ptCount val="5"/>
                <c:pt idx="0">
                  <c:v>819.25</c:v>
                </c:pt>
                <c:pt idx="1">
                  <c:v>1339.92</c:v>
                </c:pt>
                <c:pt idx="3">
                  <c:v>1916.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5</c:v>
                </c:pt>
                <c:pt idx="1">
                  <c:v>IX 100</c:v>
                </c:pt>
                <c:pt idx="2">
                  <c:v/>
                </c:pt>
                <c:pt idx="3">
                  <c:v>IX 107</c:v>
                </c:pt>
                <c:pt idx="4">
                  <c:v/>
                </c:pt>
              </c:strCache>
            </c:strRef>
          </c:cat>
          <c:val>
            <c:numRef>
              <c:f>Sheet1!$D$2:$D$6</c:f>
              <c:numCache>
                <c:formatCode>General</c:formatCode>
                <c:ptCount val="5"/>
                <c:pt idx="0">
                  <c:v>1478.98</c:v>
                </c:pt>
                <c:pt idx="2">
                  <c:v>1961.91</c:v>
                </c:pt>
                <c:pt idx="3">
                  <c:v>1793.2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5</c:v>
                </c:pt>
                <c:pt idx="1">
                  <c:v>IX 100</c:v>
                </c:pt>
                <c:pt idx="2">
                  <c:v/>
                </c:pt>
                <c:pt idx="3">
                  <c:v>IX 107</c:v>
                </c:pt>
                <c:pt idx="4">
                  <c:v/>
                </c:pt>
              </c:strCache>
            </c:strRef>
          </c:cat>
          <c:val>
            <c:numRef>
              <c:f>Sheet1!$E$2:$E$6</c:f>
              <c:numCache>
                <c:formatCode>General</c:formatCode>
                <c:ptCount val="5"/>
                <c:pt idx="0">
                  <c:v>2445.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oderm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5</c:v>
                </c:pt>
                <c:pt idx="1">
                  <c:v>IX 100</c:v>
                </c:pt>
                <c:pt idx="2">
                  <c:v/>
                </c:pt>
                <c:pt idx="3">
                  <c:v>IX 107</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45.84"/>
          <c:min val="735.6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39</c:v>
                </c:pt>
                <c:pt idx="1">
                  <c:v>IX 100</c:v>
                </c:pt>
                <c:pt idx="2">
                  <c:v/>
                </c:pt>
                <c:pt idx="3">
                  <c:v>IX 49</c:v>
                </c:pt>
                <c:pt idx="4">
                  <c:v>IX 100</c:v>
                </c:pt>
              </c:strCache>
            </c:strRef>
          </c:cat>
          <c:val>
            <c:numRef>
              <c:f>Sheet1!$B$2:$B$6</c:f>
              <c:numCache>
                <c:formatCode>General</c:formatCode>
                <c:ptCount val="5"/>
                <c:pt idx="0">
                  <c:v>2492.7</c:v>
                </c:pt>
                <c:pt idx="1">
                  <c:v>1510.75</c:v>
                </c:pt>
                <c:pt idx="2">
                  <c:v>2450.94</c:v>
                </c:pt>
                <c:pt idx="3">
                  <c:v>11872.52</c:v>
                </c:pt>
                <c:pt idx="4">
                  <c:v>1679.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9</a:t>
                    </a:r>
                  </a:p>
                  <a:p>
                    <a:r>
                      <a:t>1183.75</a:t>
                    </a:r>
                  </a:p>
                </c:rich>
              </c:tx>
              <c:dLblPos val="l"/>
              <c:showLegendKey val="0"/>
              <c:showVal val="1"/>
              <c:showCatName val="0"/>
              <c:showSerName val="0"/>
              <c:showPercent val="0"/>
              <c:showBubbleSize val="0"/>
            </c:dLbl>
            <c:dLbl>
              <c:idx val="1"/>
              <c:tx>
                <c:rich>
                  <a:bodyPr/>
                  <a:lstStyle/>
                  <a:p>
                    <a:r>
                      <a:t>IX 100</a:t>
                    </a:r>
                  </a:p>
                  <a:p>
                    <a:r>
                      <a:t>1346.3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49</a:t>
                    </a:r>
                  </a:p>
                  <a:p>
                    <a:r>
                      <a:t>5963.5</a:t>
                    </a:r>
                  </a:p>
                </c:rich>
              </c:tx>
              <c:dLblPos val="l"/>
              <c:showLegendKey val="0"/>
              <c:showVal val="1"/>
              <c:showCatName val="0"/>
              <c:showSerName val="0"/>
              <c:showPercent val="0"/>
              <c:showBubbleSize val="0"/>
            </c:dLbl>
            <c:dLbl>
              <c:idx val="4"/>
              <c:tx>
                <c:rich>
                  <a:bodyPr/>
                  <a:lstStyle/>
                  <a:p>
                    <a:r>
                      <a:t>IX 100</a:t>
                    </a:r>
                  </a:p>
                  <a:p>
                    <a:r>
                      <a:t>1440.8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39</c:v>
                </c:pt>
                <c:pt idx="1">
                  <c:v>IX 100</c:v>
                </c:pt>
                <c:pt idx="2">
                  <c:v/>
                </c:pt>
                <c:pt idx="3">
                  <c:v>IX 49</c:v>
                </c:pt>
                <c:pt idx="4">
                  <c:v>IX 100</c:v>
                </c:pt>
              </c:strCache>
            </c:strRef>
          </c:cat>
          <c:val>
            <c:numRef>
              <c:f>Sheet1!$C$2:$C$6</c:f>
              <c:numCache>
                <c:formatCode>General</c:formatCode>
                <c:ptCount val="5"/>
                <c:pt idx="0">
                  <c:v>1183.75</c:v>
                </c:pt>
                <c:pt idx="1">
                  <c:v>1346.36</c:v>
                </c:pt>
                <c:pt idx="3">
                  <c:v>5963.5</c:v>
                </c:pt>
                <c:pt idx="4">
                  <c:v>1440.8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39</c:v>
                </c:pt>
                <c:pt idx="1">
                  <c:v>IX 100</c:v>
                </c:pt>
                <c:pt idx="2">
                  <c:v/>
                </c:pt>
                <c:pt idx="3">
                  <c:v>IX 49</c:v>
                </c:pt>
                <c:pt idx="4">
                  <c:v>IX 100</c:v>
                </c:pt>
              </c:strCache>
            </c:strRef>
          </c:cat>
          <c:val>
            <c:numRef>
              <c:f>Sheet1!$D$2:$D$6</c:f>
              <c:numCache>
                <c:formatCode>General</c:formatCode>
                <c:ptCount val="5"/>
                <c:pt idx="0">
                  <c:v>2997.13</c:v>
                </c:pt>
                <c:pt idx="1">
                  <c:v>1439.75</c:v>
                </c:pt>
                <c:pt idx="2">
                  <c:v>1967.06</c:v>
                </c:pt>
                <c:pt idx="3">
                  <c:v>8651.62</c:v>
                </c:pt>
                <c:pt idx="4">
                  <c:v>1744.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39</c:v>
                </c:pt>
                <c:pt idx="1">
                  <c:v>IX 100</c:v>
                </c:pt>
                <c:pt idx="2">
                  <c:v/>
                </c:pt>
                <c:pt idx="3">
                  <c:v>IX 49</c:v>
                </c:pt>
                <c:pt idx="4">
                  <c:v>IX 100</c:v>
                </c:pt>
              </c:strCache>
            </c:strRef>
          </c:cat>
          <c:val>
            <c:numRef>
              <c:f>Sheet1!$E$2:$E$6</c:f>
              <c:numCache>
                <c:formatCode>General</c:formatCode>
                <c:ptCount val="5"/>
                <c:pt idx="0">
                  <c:v>12603.47</c:v>
                </c:pt>
                <c:pt idx="1">
                  <c:v>15090.77</c:v>
                </c:pt>
                <c:pt idx="2">
                  <c:v>2760.48</c:v>
                </c:pt>
                <c:pt idx="3">
                  <c:v>12397.29</c:v>
                </c:pt>
                <c:pt idx="4">
                  <c:v>6309.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39</c:v>
                </c:pt>
                <c:pt idx="1">
                  <c:v>IX 100</c:v>
                </c:pt>
                <c:pt idx="2">
                  <c:v/>
                </c:pt>
                <c:pt idx="3">
                  <c:v>IX 49</c:v>
                </c:pt>
                <c:pt idx="4">
                  <c:v>IX 100</c:v>
                </c:pt>
              </c:strCache>
            </c:strRef>
          </c:cat>
          <c:val>
            <c:numRef>
              <c:f>Sheet1!$F$2:$F$6</c:f>
              <c:numCache>
                <c:formatCode>General</c:formatCode>
                <c:ptCount val="5"/>
                <c:pt idx="0">
                  <c:v>7739.0</c:v>
                </c:pt>
                <c:pt idx="1">
                  <c:v>7787.96</c:v>
                </c:pt>
                <c:pt idx="2">
                  <c:v>12525.03</c:v>
                </c:pt>
                <c:pt idx="3">
                  <c:v>12247.87</c:v>
                </c:pt>
                <c:pt idx="4">
                  <c:v>3965.4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091.2667"/>
          <c:min val="1183.2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100</c:v>
                </c:pt>
                <c:pt idx="2">
                  <c:v>IX 100</c:v>
                </c:pt>
                <c:pt idx="3">
                  <c:v>IX 0</c:v>
                </c:pt>
              </c:strCache>
            </c:strRef>
          </c:cat>
          <c:val>
            <c:numRef>
              <c:f>Sheet1!$B$2:$B$5</c:f>
              <c:numCache>
                <c:formatCode>General</c:formatCode>
                <c:ptCount val="4"/>
                <c:pt idx="0">
                  <c:v>1786.66</c:v>
                </c:pt>
                <c:pt idx="1">
                  <c:v>1215.58</c:v>
                </c:pt>
                <c:pt idx="2">
                  <c:v>594.86</c:v>
                </c:pt>
                <c:pt idx="3">
                  <c:v>7543.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366.98</a:t>
                    </a:r>
                  </a:p>
                </c:rich>
              </c:tx>
              <c:dLblPos val="l"/>
              <c:showLegendKey val="0"/>
              <c:showVal val="1"/>
              <c:showCatName val="0"/>
              <c:showSerName val="0"/>
              <c:showPercent val="0"/>
              <c:showBubbleSize val="0"/>
            </c:dLbl>
            <c:dLbl>
              <c:idx val="1"/>
              <c:tx>
                <c:rich>
                  <a:bodyPr/>
                  <a:lstStyle/>
                  <a:p>
                    <a:r>
                      <a:t>IX 100</a:t>
                    </a:r>
                  </a:p>
                  <a:p>
                    <a:r>
                      <a:t>1176.21</a:t>
                    </a:r>
                  </a:p>
                </c:rich>
              </c:tx>
              <c:dLblPos val="l"/>
              <c:showLegendKey val="0"/>
              <c:showVal val="1"/>
              <c:showCatName val="0"/>
              <c:showSerName val="0"/>
              <c:showPercent val="0"/>
              <c:showBubbleSize val="0"/>
            </c:dLbl>
            <c:dLbl>
              <c:idx val="2"/>
              <c:tx>
                <c:rich>
                  <a:bodyPr/>
                  <a:lstStyle/>
                  <a:p>
                    <a:r>
                      <a:t>IX 100</a:t>
                    </a:r>
                  </a:p>
                  <a:p>
                    <a:r>
                      <a:t>571.71</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100</c:v>
                </c:pt>
                <c:pt idx="2">
                  <c:v>IX 100</c:v>
                </c:pt>
                <c:pt idx="3">
                  <c:v>IX 0</c:v>
                </c:pt>
              </c:strCache>
            </c:strRef>
          </c:cat>
          <c:val>
            <c:numRef>
              <c:f>Sheet1!$C$2:$C$5</c:f>
              <c:numCache>
                <c:formatCode>General</c:formatCode>
                <c:ptCount val="4"/>
                <c:pt idx="0">
                  <c:v>1366.98</c:v>
                </c:pt>
                <c:pt idx="1">
                  <c:v>1176.21</c:v>
                </c:pt>
                <c:pt idx="2">
                  <c:v>571.7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100</c:v>
                </c:pt>
                <c:pt idx="2">
                  <c:v>IX 100</c:v>
                </c:pt>
                <c:pt idx="3">
                  <c:v>IX 0</c:v>
                </c:pt>
              </c:strCache>
            </c:strRef>
          </c:cat>
          <c:val>
            <c:numRef>
              <c:f>Sheet1!$D$2:$D$5</c:f>
              <c:numCache>
                <c:formatCode>General</c:formatCode>
                <c:ptCount val="4"/>
                <c:pt idx="0">
                  <c:v>2006.4</c:v>
                </c:pt>
                <c:pt idx="1">
                  <c:v>1360.82</c:v>
                </c:pt>
                <c:pt idx="2">
                  <c:v>596.28</c:v>
                </c:pt>
                <c:pt idx="3">
                  <c:v>6816.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100</c:v>
                </c:pt>
                <c:pt idx="2">
                  <c:v>IX 100</c:v>
                </c:pt>
                <c:pt idx="3">
                  <c:v>IX 0</c:v>
                </c:pt>
              </c:strCache>
            </c:strRef>
          </c:cat>
          <c:val>
            <c:numRef>
              <c:f>Sheet1!$E$2:$E$5</c:f>
              <c:numCache>
                <c:formatCode>General</c:formatCode>
                <c:ptCount val="4"/>
                <c:pt idx="0">
                  <c:v>7738.78</c:v>
                </c:pt>
                <c:pt idx="1">
                  <c:v>18290.0</c:v>
                </c:pt>
                <c:pt idx="3">
                  <c:v>9612.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100</c:v>
                </c:pt>
                <c:pt idx="2">
                  <c:v>IX 100</c:v>
                </c:pt>
                <c:pt idx="3">
                  <c:v>IX 0</c:v>
                </c:pt>
              </c:strCache>
            </c:strRef>
          </c:cat>
          <c:val>
            <c:numRef>
              <c:f>Sheet1!$F$2:$F$5</c:f>
              <c:numCache>
                <c:formatCode>General</c:formatCode>
                <c:ptCount val="4"/>
                <c:pt idx="0">
                  <c:v>7576.38</c:v>
                </c:pt>
                <c:pt idx="3">
                  <c:v>19391.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391.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B$2:$B$6</c:f>
              <c:numCache>
                <c:formatCode>General</c:formatCode>
                <c:ptCount val="5"/>
                <c:pt idx="0">
                  <c:v>12984.97</c:v>
                </c:pt>
                <c:pt idx="1">
                  <c:v>1689.57</c:v>
                </c:pt>
                <c:pt idx="2">
                  <c:v>12659.71</c:v>
                </c:pt>
                <c:pt idx="3">
                  <c:v>1835.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263.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835.0</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C$2:$C$6</c:f>
              <c:numCache>
                <c:formatCode>General</c:formatCode>
                <c:ptCount val="5"/>
                <c:pt idx="1">
                  <c:v>1263.38</c:v>
                </c:pt>
                <c:pt idx="3">
                  <c:v>183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D$2:$D$6</c:f>
              <c:numCache>
                <c:formatCode>General</c:formatCode>
                <c:ptCount val="5"/>
                <c:pt idx="0">
                  <c:v>12984.9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E$2:$E$6</c:f>
              <c:numCache>
                <c:formatCode>General</c:formatCode>
                <c:ptCount val="5"/>
                <c:pt idx="2">
                  <c:v>12659.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IX 100</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985.4667"/>
          <c:min val="1262.88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82</c:v>
                </c:pt>
                <c:pt idx="2">
                  <c:v/>
                </c:pt>
                <c:pt idx="3">
                  <c:v>IX 268</c:v>
                </c:pt>
                <c:pt idx="4">
                  <c:v/>
                </c:pt>
              </c:strCache>
            </c:strRef>
          </c:cat>
          <c:val>
            <c:numRef>
              <c:f>Sheet1!$B$2:$B$6</c:f>
              <c:numCache>
                <c:formatCode>General</c:formatCode>
                <c:ptCount val="5"/>
                <c:pt idx="0">
                  <c:v>790.08</c:v>
                </c:pt>
                <c:pt idx="1">
                  <c:v>1563.43</c:v>
                </c:pt>
                <c:pt idx="2">
                  <c:v>1865.24</c:v>
                </c:pt>
                <c:pt idx="3">
                  <c:v>1831.03</c:v>
                </c:pt>
                <c:pt idx="4">
                  <c:v>19263.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82.25</a:t>
                    </a:r>
                  </a:p>
                </c:rich>
              </c:tx>
              <c:dLblPos val="l"/>
              <c:showLegendKey val="0"/>
              <c:showVal val="1"/>
              <c:showCatName val="0"/>
              <c:showSerName val="0"/>
              <c:showPercent val="0"/>
              <c:showBubbleSize val="0"/>
            </c:dLbl>
            <c:dLbl>
              <c:idx val="1"/>
              <c:tx>
                <c:rich>
                  <a:bodyPr/>
                  <a:lstStyle/>
                  <a:p>
                    <a:r>
                      <a:t>IX 82</a:t>
                    </a:r>
                  </a:p>
                  <a:p>
                    <a:r>
                      <a:t>1168.9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268</a:t>
                    </a:r>
                  </a:p>
                  <a:p>
                    <a:r>
                      <a:t>4795.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82</c:v>
                </c:pt>
                <c:pt idx="2">
                  <c:v/>
                </c:pt>
                <c:pt idx="3">
                  <c:v>IX 268</c:v>
                </c:pt>
                <c:pt idx="4">
                  <c:v/>
                </c:pt>
              </c:strCache>
            </c:strRef>
          </c:cat>
          <c:val>
            <c:numRef>
              <c:f>Sheet1!$C$2:$C$6</c:f>
              <c:numCache>
                <c:formatCode>General</c:formatCode>
                <c:ptCount val="5"/>
                <c:pt idx="0">
                  <c:v>1382.25</c:v>
                </c:pt>
                <c:pt idx="1">
                  <c:v>1168.92</c:v>
                </c:pt>
                <c:pt idx="3">
                  <c:v>479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oderm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82</c:v>
                </c:pt>
                <c:pt idx="2">
                  <c:v/>
                </c:pt>
                <c:pt idx="3">
                  <c:v>IX 268</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iersdorf</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82</c:v>
                </c:pt>
                <c:pt idx="2">
                  <c:v/>
                </c:pt>
                <c:pt idx="3">
                  <c:v>IX 268</c:v>
                </c:pt>
                <c:pt idx="4">
                  <c:v/>
                </c:pt>
              </c:strCache>
            </c:strRef>
          </c:cat>
          <c:val>
            <c:numRef>
              <c:f>Sheet1!$E$2:$E$6</c:f>
              <c:numCache>
                <c:formatCode>General</c:formatCode>
                <c:ptCount val="5"/>
                <c:pt idx="1">
                  <c:v>1429.66</c:v>
                </c:pt>
                <c:pt idx="2">
                  <c:v>1858.43</c:v>
                </c:pt>
                <c:pt idx="3">
                  <c:v>1791.6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82</c:v>
                </c:pt>
                <c:pt idx="2">
                  <c:v/>
                </c:pt>
                <c:pt idx="3">
                  <c:v>IX 268</c:v>
                </c:pt>
                <c:pt idx="4">
                  <c:v/>
                </c:pt>
              </c:strCache>
            </c:strRef>
          </c:cat>
          <c:val>
            <c:numRef>
              <c:f>Sheet1!$F$2:$F$6</c:f>
              <c:numCache>
                <c:formatCode>General</c:formatCode>
                <c:ptCount val="5"/>
                <c:pt idx="1">
                  <c:v>236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64.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94</c:v>
                </c:pt>
                <c:pt idx="2">
                  <c:v>IX 100</c:v>
                </c:pt>
                <c:pt idx="3">
                  <c:v/>
                </c:pt>
                <c:pt idx="4">
                  <c:v>IX 75</c:v>
                </c:pt>
              </c:strCache>
            </c:strRef>
          </c:cat>
          <c:val>
            <c:numRef>
              <c:f>Sheet1!$B$2:$B$6</c:f>
              <c:numCache>
                <c:formatCode>General</c:formatCode>
                <c:ptCount val="5"/>
                <c:pt idx="0">
                  <c:v>1621.17</c:v>
                </c:pt>
                <c:pt idx="1">
                  <c:v>1466.59</c:v>
                </c:pt>
                <c:pt idx="2">
                  <c:v>1594.59</c:v>
                </c:pt>
                <c:pt idx="3">
                  <c:v>1498.59</c:v>
                </c:pt>
                <c:pt idx="4">
                  <c:v>11267.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9</a:t>
                    </a:r>
                  </a:p>
                  <a:p>
                    <a:r>
                      <a:t>1213.65</a:t>
                    </a:r>
                  </a:p>
                </c:rich>
              </c:tx>
              <c:dLblPos val="l"/>
              <c:showLegendKey val="0"/>
              <c:showVal val="1"/>
              <c:showCatName val="0"/>
              <c:showSerName val="0"/>
              <c:showPercent val="0"/>
              <c:showBubbleSize val="0"/>
            </c:dLbl>
            <c:dLbl>
              <c:idx val="1"/>
              <c:tx>
                <c:rich>
                  <a:bodyPr/>
                  <a:lstStyle/>
                  <a:p>
                    <a:r>
                      <a:t>IX 94</a:t>
                    </a:r>
                  </a:p>
                  <a:p>
                    <a:r>
                      <a:t>1359.64</a:t>
                    </a:r>
                  </a:p>
                </c:rich>
              </c:tx>
              <c:dLblPos val="l"/>
              <c:showLegendKey val="0"/>
              <c:showVal val="1"/>
              <c:showCatName val="0"/>
              <c:showSerName val="0"/>
              <c:showPercent val="0"/>
              <c:showBubbleSize val="0"/>
            </c:dLbl>
            <c:dLbl>
              <c:idx val="2"/>
              <c:tx>
                <c:rich>
                  <a:bodyPr/>
                  <a:lstStyle/>
                  <a:p>
                    <a:r>
                      <a:t>IX 100</a:t>
                    </a:r>
                  </a:p>
                  <a:p>
                    <a:r>
                      <a:t>1518.5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75</a:t>
                    </a:r>
                  </a:p>
                  <a:p>
                    <a:r>
                      <a:t>6465.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94</c:v>
                </c:pt>
                <c:pt idx="2">
                  <c:v>IX 100</c:v>
                </c:pt>
                <c:pt idx="3">
                  <c:v/>
                </c:pt>
                <c:pt idx="4">
                  <c:v>IX 75</c:v>
                </c:pt>
              </c:strCache>
            </c:strRef>
          </c:cat>
          <c:val>
            <c:numRef>
              <c:f>Sheet1!$C$2:$C$6</c:f>
              <c:numCache>
                <c:formatCode>General</c:formatCode>
                <c:ptCount val="5"/>
                <c:pt idx="0">
                  <c:v>1213.65</c:v>
                </c:pt>
                <c:pt idx="1">
                  <c:v>1359.64</c:v>
                </c:pt>
                <c:pt idx="2">
                  <c:v>1518.55</c:v>
                </c:pt>
                <c:pt idx="4">
                  <c:v>646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94</c:v>
                </c:pt>
                <c:pt idx="2">
                  <c:v>IX 100</c:v>
                </c:pt>
                <c:pt idx="3">
                  <c:v/>
                </c:pt>
                <c:pt idx="4">
                  <c:v>IX 75</c:v>
                </c:pt>
              </c:strCache>
            </c:strRef>
          </c:cat>
          <c:val>
            <c:numRef>
              <c:f>Sheet1!$D$2:$D$6</c:f>
              <c:numCache>
                <c:formatCode>General</c:formatCode>
                <c:ptCount val="5"/>
                <c:pt idx="0">
                  <c:v>2481.22</c:v>
                </c:pt>
                <c:pt idx="1">
                  <c:v>1444.84</c:v>
                </c:pt>
                <c:pt idx="2">
                  <c:v>1701.11</c:v>
                </c:pt>
                <c:pt idx="3">
                  <c:v>1440.73</c:v>
                </c:pt>
                <c:pt idx="4">
                  <c:v>8573.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94</c:v>
                </c:pt>
                <c:pt idx="2">
                  <c:v>IX 100</c:v>
                </c:pt>
                <c:pt idx="3">
                  <c:v/>
                </c:pt>
                <c:pt idx="4">
                  <c:v>IX 75</c:v>
                </c:pt>
              </c:strCache>
            </c:strRef>
          </c:cat>
          <c:val>
            <c:numRef>
              <c:f>Sheet1!$E$2:$E$6</c:f>
              <c:numCache>
                <c:formatCode>General</c:formatCode>
                <c:ptCount val="5"/>
                <c:pt idx="0">
                  <c:v>6369.6</c:v>
                </c:pt>
                <c:pt idx="1">
                  <c:v>7443.38</c:v>
                </c:pt>
                <c:pt idx="3">
                  <c:v>46864.0</c:v>
                </c:pt>
                <c:pt idx="4">
                  <c:v>38228.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9</c:v>
                </c:pt>
                <c:pt idx="1">
                  <c:v>IX 94</c:v>
                </c:pt>
                <c:pt idx="2">
                  <c:v>IX 100</c:v>
                </c:pt>
                <c:pt idx="3">
                  <c:v/>
                </c:pt>
                <c:pt idx="4">
                  <c:v>IX 75</c:v>
                </c:pt>
              </c:strCache>
            </c:strRef>
          </c:cat>
          <c:val>
            <c:numRef>
              <c:f>Sheet1!$F$2:$F$6</c:f>
              <c:numCache>
                <c:formatCode>General</c:formatCode>
                <c:ptCount val="5"/>
                <c:pt idx="0">
                  <c:v>17252.6</c:v>
                </c:pt>
                <c:pt idx="2">
                  <c:v>9272.55</c:v>
                </c:pt>
                <c:pt idx="3">
                  <c:v>2636.58</c:v>
                </c:pt>
                <c:pt idx="4">
                  <c:v>69557.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558.357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IX 100</c:v>
                </c:pt>
              </c:strCache>
            </c:strRef>
          </c:cat>
          <c:val>
            <c:numRef>
              <c:f>Sheet1!$B$2:$B$5</c:f>
              <c:numCache>
                <c:formatCode>General</c:formatCode>
                <c:ptCount val="4"/>
                <c:pt idx="1">
                  <c:v>1034.43</c:v>
                </c:pt>
                <c:pt idx="2">
                  <c:v>1548.06</c:v>
                </c:pt>
                <c:pt idx="3">
                  <c:v>5750.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632.0</a:t>
                    </a:r>
                  </a:p>
                </c:rich>
              </c:tx>
              <c:dLblPos val="l"/>
              <c:showLegendKey val="0"/>
              <c:showVal val="1"/>
              <c:showCatName val="0"/>
              <c:showSerName val="0"/>
              <c:showPercent val="0"/>
              <c:showBubbleSize val="0"/>
            </c:dLbl>
            <c:dLbl>
              <c:idx val="2"/>
              <c:tx>
                <c:rich>
                  <a:bodyPr/>
                  <a:lstStyle/>
                  <a:p>
                    <a:r>
                      <a:t>IX 100</a:t>
                    </a:r>
                  </a:p>
                  <a:p>
                    <a:r>
                      <a:t>1177.13</a:t>
                    </a:r>
                  </a:p>
                </c:rich>
              </c:tx>
              <c:dLblPos val="l"/>
              <c:showLegendKey val="0"/>
              <c:showVal val="1"/>
              <c:showCatName val="0"/>
              <c:showSerName val="0"/>
              <c:showPercent val="0"/>
              <c:showBubbleSize val="0"/>
            </c:dLbl>
            <c:dLbl>
              <c:idx val="3"/>
              <c:tx>
                <c:rich>
                  <a:bodyPr/>
                  <a:lstStyle/>
                  <a:p>
                    <a:r>
                      <a:t>IX 100</a:t>
                    </a:r>
                  </a:p>
                  <a:p>
                    <a:r>
                      <a:t>5750.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IX 100</c:v>
                </c:pt>
              </c:strCache>
            </c:strRef>
          </c:cat>
          <c:val>
            <c:numRef>
              <c:f>Sheet1!$C$2:$C$5</c:f>
              <c:numCache>
                <c:formatCode>General</c:formatCode>
                <c:ptCount val="4"/>
                <c:pt idx="1">
                  <c:v>1632.0</c:v>
                </c:pt>
                <c:pt idx="2">
                  <c:v>1177.13</c:v>
                </c:pt>
                <c:pt idx="3">
                  <c:v>5750.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IX 100</c:v>
                </c:pt>
              </c:strCache>
            </c:strRef>
          </c:cat>
          <c:val>
            <c:numRef>
              <c:f>Sheet1!$D$2:$D$5</c:f>
              <c:numCache>
                <c:formatCode>General</c:formatCode>
                <c:ptCount val="4"/>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5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56</c:v>
                </c:pt>
                <c:pt idx="3">
                  <c:v>IX 197</c:v>
                </c:pt>
              </c:strCache>
            </c:strRef>
          </c:cat>
          <c:val>
            <c:numRef>
              <c:f>Sheet1!$B$2:$B$5</c:f>
              <c:numCache>
                <c:formatCode>General</c:formatCode>
                <c:ptCount val="4"/>
                <c:pt idx="0">
                  <c:v>796.33</c:v>
                </c:pt>
                <c:pt idx="1">
                  <c:v>1710.16</c:v>
                </c:pt>
                <c:pt idx="2">
                  <c:v>1344.57</c:v>
                </c:pt>
                <c:pt idx="3">
                  <c:v>1755.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158.5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6</a:t>
                    </a:r>
                  </a:p>
                  <a:p>
                    <a:r>
                      <a:t>756.28</a:t>
                    </a:r>
                  </a:p>
                </c:rich>
              </c:tx>
              <c:dLblPos val="l"/>
              <c:showLegendKey val="0"/>
              <c:showVal val="1"/>
              <c:showCatName val="0"/>
              <c:showSerName val="0"/>
              <c:showPercent val="0"/>
              <c:showBubbleSize val="0"/>
            </c:dLbl>
            <c:dLbl>
              <c:idx val="3"/>
              <c:tx>
                <c:rich>
                  <a:bodyPr/>
                  <a:lstStyle/>
                  <a:p>
                    <a:r>
                      <a:t>IX 197</a:t>
                    </a:r>
                  </a:p>
                  <a:p>
                    <a:r>
                      <a:t>3427.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56</c:v>
                </c:pt>
                <c:pt idx="3">
                  <c:v>IX 197</c:v>
                </c:pt>
              </c:strCache>
            </c:strRef>
          </c:cat>
          <c:val>
            <c:numRef>
              <c:f>Sheet1!$C$2:$C$5</c:f>
              <c:numCache>
                <c:formatCode>General</c:formatCode>
                <c:ptCount val="4"/>
                <c:pt idx="0">
                  <c:v>1158.56</c:v>
                </c:pt>
                <c:pt idx="2">
                  <c:v>756.28</c:v>
                </c:pt>
                <c:pt idx="3">
                  <c:v>342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56</c:v>
                </c:pt>
                <c:pt idx="3">
                  <c:v>IX 197</c:v>
                </c:pt>
              </c:strCache>
            </c:strRef>
          </c:cat>
          <c:val>
            <c:numRef>
              <c:f>Sheet1!$D$2:$D$5</c:f>
              <c:numCache>
                <c:formatCode>General</c:formatCode>
                <c:ptCount val="4"/>
                <c:pt idx="1">
                  <c:v>1710.16</c:v>
                </c:pt>
                <c:pt idx="2">
                  <c:v>1342.19</c:v>
                </c:pt>
                <c:pt idx="3">
                  <c:v>1741.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ustralian Gold</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56</c:v>
                </c:pt>
                <c:pt idx="3">
                  <c:v>IX 197</c:v>
                </c:pt>
              </c:strCache>
            </c:strRef>
          </c:cat>
          <c:val>
            <c:numRef>
              <c:f>Sheet1!$E$2:$E$5</c:f>
              <c:numCache>
                <c:formatCode>General</c:formatCode>
                <c:ptCount val="4"/>
                <c:pt idx="2">
                  <c:v>1568.4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IX 56</c:v>
                </c:pt>
                <c:pt idx="3">
                  <c:v>IX 197</c:v>
                </c:pt>
              </c:strCache>
            </c:strRef>
          </c:cat>
          <c:val>
            <c:numRef>
              <c:f>Sheet1!$F$2:$F$5</c:f>
              <c:numCache>
                <c:formatCode>General</c:formatCode>
                <c:ptCount val="4"/>
                <c:pt idx="2">
                  <c:v>2037.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28.0"/>
          <c:min val="755.77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3</c:v>
                </c:pt>
              </c:strCache>
            </c:strRef>
          </c:cat>
          <c:val>
            <c:numRef>
              <c:f>Sheet1!$B$2:$B$6</c:f>
              <c:numCache>
                <c:formatCode>General</c:formatCode>
                <c:ptCount val="5"/>
                <c:pt idx="0">
                  <c:v>1871.51</c:v>
                </c:pt>
                <c:pt idx="1">
                  <c:v>1529.41</c:v>
                </c:pt>
                <c:pt idx="2">
                  <c:v>1951.9</c:v>
                </c:pt>
                <c:pt idx="3">
                  <c:v>1643.63</c:v>
                </c:pt>
                <c:pt idx="4">
                  <c:v>12696.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228.36</a:t>
                    </a:r>
                  </a:p>
                </c:rich>
              </c:tx>
              <c:dLblPos val="l"/>
              <c:showLegendKey val="0"/>
              <c:showVal val="1"/>
              <c:showCatName val="0"/>
              <c:showSerName val="0"/>
              <c:showPercent val="0"/>
              <c:showBubbleSize val="0"/>
            </c:dLbl>
            <c:dLbl>
              <c:idx val="1"/>
              <c:tx>
                <c:rich>
                  <a:bodyPr/>
                  <a:lstStyle/>
                  <a:p>
                    <a:r>
                      <a:t>IX 100</a:t>
                    </a:r>
                  </a:p>
                  <a:p>
                    <a:r>
                      <a:t>1389.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491.17</a:t>
                    </a:r>
                  </a:p>
                </c:rich>
              </c:tx>
              <c:dLblPos val="l"/>
              <c:showLegendKey val="0"/>
              <c:showVal val="1"/>
              <c:showCatName val="0"/>
              <c:showSerName val="0"/>
              <c:showPercent val="0"/>
              <c:showBubbleSize val="0"/>
            </c:dLbl>
            <c:dLbl>
              <c:idx val="4"/>
              <c:tx>
                <c:rich>
                  <a:bodyPr/>
                  <a:lstStyle/>
                  <a:p>
                    <a:r>
                      <a:t>IX 63</a:t>
                    </a:r>
                  </a:p>
                  <a:p>
                    <a:r>
                      <a:t>5550.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3</c:v>
                </c:pt>
              </c:strCache>
            </c:strRef>
          </c:cat>
          <c:val>
            <c:numRef>
              <c:f>Sheet1!$C$2:$C$6</c:f>
              <c:numCache>
                <c:formatCode>General</c:formatCode>
                <c:ptCount val="5"/>
                <c:pt idx="0">
                  <c:v>1228.36</c:v>
                </c:pt>
                <c:pt idx="1">
                  <c:v>1389.02</c:v>
                </c:pt>
                <c:pt idx="3">
                  <c:v>1491.17</c:v>
                </c:pt>
                <c:pt idx="4">
                  <c:v>5550.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3</c:v>
                </c:pt>
              </c:strCache>
            </c:strRef>
          </c:cat>
          <c:val>
            <c:numRef>
              <c:f>Sheet1!$D$2:$D$6</c:f>
              <c:numCache>
                <c:formatCode>General</c:formatCode>
                <c:ptCount val="5"/>
                <c:pt idx="0">
                  <c:v>2785.79</c:v>
                </c:pt>
                <c:pt idx="1">
                  <c:v>1488.97</c:v>
                </c:pt>
                <c:pt idx="2">
                  <c:v>1698.85</c:v>
                </c:pt>
                <c:pt idx="3">
                  <c:v>1729.9</c:v>
                </c:pt>
                <c:pt idx="4">
                  <c:v>8779.0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3</c:v>
                </c:pt>
              </c:strCache>
            </c:strRef>
          </c:cat>
          <c:val>
            <c:numRef>
              <c:f>Sheet1!$E$2:$E$6</c:f>
              <c:numCache>
                <c:formatCode>General</c:formatCode>
                <c:ptCount val="5"/>
                <c:pt idx="0">
                  <c:v>13052.06</c:v>
                </c:pt>
                <c:pt idx="1">
                  <c:v>24205.08</c:v>
                </c:pt>
                <c:pt idx="2">
                  <c:v>2597.86</c:v>
                </c:pt>
                <c:pt idx="3">
                  <c:v>6109.97</c:v>
                </c:pt>
                <c:pt idx="4">
                  <c:v>1449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
                </c:pt>
                <c:pt idx="3">
                  <c:v>IX 100</c:v>
                </c:pt>
                <c:pt idx="4">
                  <c:v>IX 63</c:v>
                </c:pt>
              </c:strCache>
            </c:strRef>
          </c:cat>
          <c:val>
            <c:numRef>
              <c:f>Sheet1!$F$2:$F$6</c:f>
              <c:numCache>
                <c:formatCode>General</c:formatCode>
                <c:ptCount val="5"/>
                <c:pt idx="0">
                  <c:v>7054.96</c:v>
                </c:pt>
                <c:pt idx="1">
                  <c:v>7453.1</c:v>
                </c:pt>
                <c:pt idx="2">
                  <c:v>12217.13</c:v>
                </c:pt>
                <c:pt idx="3">
                  <c:v>12790.25</c:v>
                </c:pt>
                <c:pt idx="4">
                  <c:v>12908.2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05.5833"/>
          <c:min val="1227.86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B$2:$B$5</c:f>
              <c:numCache>
                <c:formatCode>General</c:formatCode>
                <c:ptCount val="4"/>
                <c:pt idx="0">
                  <c:v>13022.5</c:v>
                </c:pt>
                <c:pt idx="1">
                  <c:v>1544.52</c:v>
                </c:pt>
                <c:pt idx="2">
                  <c:v>2699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47.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C$2:$C$5</c:f>
              <c:numCache>
                <c:formatCode>General</c:formatCode>
                <c:ptCount val="4"/>
                <c:pt idx="1">
                  <c:v>104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D$2:$D$5</c:f>
              <c:numCache>
                <c:formatCode>General</c:formatCode>
                <c:ptCount val="4"/>
                <c:pt idx="0">
                  <c:v>1302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E$2:$E$5</c:f>
              <c:numCache>
                <c:formatCode>General</c:formatCode>
                <c:ptCount val="4"/>
                <c:pt idx="2">
                  <c:v>2699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IX 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347</c:v>
                </c:pt>
                <c:pt idx="4">
                  <c:v/>
                </c:pt>
              </c:strCache>
            </c:strRef>
          </c:cat>
          <c:val>
            <c:numRef>
              <c:f>Sheet1!$B$2:$B$6</c:f>
              <c:numCache>
                <c:formatCode>General</c:formatCode>
                <c:ptCount val="5"/>
                <c:pt idx="0">
                  <c:v>755.89</c:v>
                </c:pt>
                <c:pt idx="1">
                  <c:v>1504.7</c:v>
                </c:pt>
                <c:pt idx="2">
                  <c:v>1923.53</c:v>
                </c:pt>
                <c:pt idx="3">
                  <c:v>1818.03</c:v>
                </c:pt>
                <c:pt idx="4">
                  <c:v>7169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93.43</a:t>
                    </a:r>
                  </a:p>
                </c:rich>
              </c:tx>
              <c:dLblPos val="l"/>
              <c:showLegendKey val="0"/>
              <c:showVal val="1"/>
              <c:showCatName val="0"/>
              <c:showSerName val="0"/>
              <c:showPercent val="0"/>
              <c:showBubbleSize val="0"/>
            </c:dLbl>
            <c:dLbl>
              <c:idx val="1"/>
              <c:tx>
                <c:rich>
                  <a:bodyPr/>
                  <a:lstStyle/>
                  <a:p>
                    <a:r>
                      <a:t>IX 56</a:t>
                    </a:r>
                  </a:p>
                  <a:p>
                    <a:r>
                      <a:t>824.0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347</a:t>
                    </a:r>
                  </a:p>
                  <a:p>
                    <a:r>
                      <a:t>6196.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347</c:v>
                </c:pt>
                <c:pt idx="4">
                  <c:v/>
                </c:pt>
              </c:strCache>
            </c:strRef>
          </c:cat>
          <c:val>
            <c:numRef>
              <c:f>Sheet1!$C$2:$C$6</c:f>
              <c:numCache>
                <c:formatCode>General</c:formatCode>
                <c:ptCount val="5"/>
                <c:pt idx="0">
                  <c:v>1393.43</c:v>
                </c:pt>
                <c:pt idx="1">
                  <c:v>824.05</c:v>
                </c:pt>
                <c:pt idx="3">
                  <c:v>6196.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oderm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347</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iersdorf</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347</c:v>
                </c:pt>
                <c:pt idx="4">
                  <c:v/>
                </c:pt>
              </c:strCache>
            </c:strRef>
          </c:cat>
          <c:val>
            <c:numRef>
              <c:f>Sheet1!$E$2:$E$6</c:f>
              <c:numCache>
                <c:formatCode>General</c:formatCode>
                <c:ptCount val="5"/>
                <c:pt idx="1">
                  <c:v>1463.17</c:v>
                </c:pt>
                <c:pt idx="2">
                  <c:v>1922.06</c:v>
                </c:pt>
                <c:pt idx="3">
                  <c:v>1786.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56</c:v>
                </c:pt>
                <c:pt idx="2">
                  <c:v/>
                </c:pt>
                <c:pt idx="3">
                  <c:v>IX 347</c:v>
                </c:pt>
                <c:pt idx="4">
                  <c:v/>
                </c:pt>
              </c:strCache>
            </c:strRef>
          </c:cat>
          <c:val>
            <c:numRef>
              <c:f>Sheet1!$F$2:$F$6</c:f>
              <c:numCache>
                <c:formatCode>General</c:formatCode>
                <c:ptCount val="5"/>
                <c:pt idx="1">
                  <c:v>3206.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694.5"/>
          <c:min val="755.38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55</c:v>
                </c:pt>
              </c:strCache>
            </c:strRef>
          </c:cat>
          <c:val>
            <c:numRef>
              <c:f>Sheet1!$B$2:$B$6</c:f>
              <c:numCache>
                <c:formatCode>General</c:formatCode>
                <c:ptCount val="5"/>
                <c:pt idx="0">
                  <c:v>1865.2</c:v>
                </c:pt>
                <c:pt idx="1">
                  <c:v>1528.34</c:v>
                </c:pt>
                <c:pt idx="2">
                  <c:v>1673.48</c:v>
                </c:pt>
                <c:pt idx="3">
                  <c:v>2099.47</c:v>
                </c:pt>
                <c:pt idx="4">
                  <c:v>12876.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233.65</a:t>
                    </a:r>
                  </a:p>
                </c:rich>
              </c:tx>
              <c:dLblPos val="l"/>
              <c:showLegendKey val="0"/>
              <c:showVal val="1"/>
              <c:showCatName val="0"/>
              <c:showSerName val="0"/>
              <c:showPercent val="0"/>
              <c:showBubbleSize val="0"/>
            </c:dLbl>
            <c:dLbl>
              <c:idx val="1"/>
              <c:tx>
                <c:rich>
                  <a:bodyPr/>
                  <a:lstStyle/>
                  <a:p>
                    <a:r>
                      <a:t>IX 100</a:t>
                    </a:r>
                  </a:p>
                  <a:p>
                    <a:r>
                      <a:t>1398.32</a:t>
                    </a:r>
                  </a:p>
                </c:rich>
              </c:tx>
              <c:dLblPos val="l"/>
              <c:showLegendKey val="0"/>
              <c:showVal val="1"/>
              <c:showCatName val="0"/>
              <c:showSerName val="0"/>
              <c:showPercent val="0"/>
              <c:showBubbleSize val="0"/>
            </c:dLbl>
            <c:dLbl>
              <c:idx val="2"/>
              <c:tx>
                <c:rich>
                  <a:bodyPr/>
                  <a:lstStyle/>
                  <a:p>
                    <a:r>
                      <a:t>IX 100</a:t>
                    </a:r>
                  </a:p>
                  <a:p>
                    <a:r>
                      <a:t>1600.9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55</a:t>
                    </a:r>
                  </a:p>
                  <a:p>
                    <a:r>
                      <a:t>6933.7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55</c:v>
                </c:pt>
              </c:strCache>
            </c:strRef>
          </c:cat>
          <c:val>
            <c:numRef>
              <c:f>Sheet1!$C$2:$C$6</c:f>
              <c:numCache>
                <c:formatCode>General</c:formatCode>
                <c:ptCount val="5"/>
                <c:pt idx="0">
                  <c:v>1233.65</c:v>
                </c:pt>
                <c:pt idx="1">
                  <c:v>1398.32</c:v>
                </c:pt>
                <c:pt idx="2">
                  <c:v>1600.93</c:v>
                </c:pt>
                <c:pt idx="4">
                  <c:v>6933.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55</c:v>
                </c:pt>
              </c:strCache>
            </c:strRef>
          </c:cat>
          <c:val>
            <c:numRef>
              <c:f>Sheet1!$D$2:$D$6</c:f>
              <c:numCache>
                <c:formatCode>General</c:formatCode>
                <c:ptCount val="5"/>
                <c:pt idx="0">
                  <c:v>2820.4</c:v>
                </c:pt>
                <c:pt idx="1">
                  <c:v>1496.78</c:v>
                </c:pt>
                <c:pt idx="2">
                  <c:v>1732.09</c:v>
                </c:pt>
                <c:pt idx="3">
                  <c:v>1756.18</c:v>
                </c:pt>
                <c:pt idx="4">
                  <c:v>8508.6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55</c:v>
                </c:pt>
              </c:strCache>
            </c:strRef>
          </c:cat>
          <c:val>
            <c:numRef>
              <c:f>Sheet1!$E$2:$E$6</c:f>
              <c:numCache>
                <c:formatCode>General</c:formatCode>
                <c:ptCount val="5"/>
                <c:pt idx="0">
                  <c:v>13437.75</c:v>
                </c:pt>
                <c:pt idx="1">
                  <c:v>97010.0</c:v>
                </c:pt>
                <c:pt idx="2">
                  <c:v>5919.07</c:v>
                </c:pt>
                <c:pt idx="3">
                  <c:v>2649.94</c:v>
                </c:pt>
                <c:pt idx="4">
                  <c:v>15100.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100</c:v>
                </c:pt>
                <c:pt idx="2">
                  <c:v>IX 100</c:v>
                </c:pt>
                <c:pt idx="3">
                  <c:v/>
                </c:pt>
                <c:pt idx="4">
                  <c:v>IX 55</c:v>
                </c:pt>
              </c:strCache>
            </c:strRef>
          </c:cat>
          <c:val>
            <c:numRef>
              <c:f>Sheet1!$F$2:$F$6</c:f>
              <c:numCache>
                <c:formatCode>General</c:formatCode>
                <c:ptCount val="5"/>
                <c:pt idx="0">
                  <c:v>7293.64</c:v>
                </c:pt>
                <c:pt idx="1">
                  <c:v>7451.63</c:v>
                </c:pt>
                <c:pt idx="2">
                  <c:v>5794.33</c:v>
                </c:pt>
                <c:pt idx="3">
                  <c:v>10710.29</c:v>
                </c:pt>
                <c:pt idx="4">
                  <c:v>12586.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010.5"/>
          <c:min val="1233.15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100</c:v>
                </c:pt>
              </c:strCache>
            </c:strRef>
          </c:cat>
          <c:val>
            <c:numRef>
              <c:f>Sheet1!$B$2:$B$5</c:f>
              <c:numCache>
                <c:formatCode>General</c:formatCode>
                <c:ptCount val="4"/>
                <c:pt idx="0">
                  <c:v>17579.15</c:v>
                </c:pt>
                <c:pt idx="1">
                  <c:v>1506.78</c:v>
                </c:pt>
                <c:pt idx="2">
                  <c:v>23757.5</c:v>
                </c:pt>
                <c:pt idx="3">
                  <c:v>2250.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99.43</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dLbl>
              <c:idx val="3"/>
              <c:tx>
                <c:rich>
                  <a:bodyPr/>
                  <a:lstStyle/>
                  <a:p>
                    <a:r>
                      <a:t>IX 100</a:t>
                    </a:r>
                  </a:p>
                  <a:p>
                    <a:r>
                      <a:t>2250.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100</c:v>
                </c:pt>
              </c:strCache>
            </c:strRef>
          </c:cat>
          <c:val>
            <c:numRef>
              <c:f>Sheet1!$C$2:$C$5</c:f>
              <c:numCache>
                <c:formatCode>General</c:formatCode>
                <c:ptCount val="4"/>
                <c:pt idx="1">
                  <c:v>1099.43</c:v>
                </c:pt>
                <c:pt idx="3">
                  <c:v>2250.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100</c:v>
                </c:pt>
              </c:strCache>
            </c:strRef>
          </c:cat>
          <c:val>
            <c:numRef>
              <c:f>Sheet1!$D$2:$D$5</c:f>
              <c:numCache>
                <c:formatCode>General</c:formatCode>
                <c:ptCount val="4"/>
                <c:pt idx="0">
                  <c:v>17579.1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100</c:v>
                </c:pt>
              </c:strCache>
            </c:strRef>
          </c:cat>
          <c:val>
            <c:numRef>
              <c:f>Sheet1!$E$2:$E$5</c:f>
              <c:numCache>
                <c:formatCode>General</c:formatCode>
                <c:ptCount val="4"/>
                <c:pt idx="2">
                  <c:v>23583.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758.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B$2:$B$5</c:f>
              <c:numCache>
                <c:formatCode>General</c:formatCode>
                <c:ptCount val="4"/>
                <c:pt idx="0">
                  <c:v>1785.28</c:v>
                </c:pt>
                <c:pt idx="1">
                  <c:v>1188.18</c:v>
                </c:pt>
                <c:pt idx="2">
                  <c:v>586.02</c:v>
                </c:pt>
                <c:pt idx="3">
                  <c:v>7571.4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08.65</a:t>
                    </a:r>
                  </a:p>
                </c:rich>
              </c:tx>
              <c:dLblPos val="l"/>
              <c:showLegendKey val="0"/>
              <c:showVal val="1"/>
              <c:showCatName val="0"/>
              <c:showSerName val="0"/>
              <c:showPercent val="0"/>
              <c:showBubbleSize val="0"/>
            </c:dLbl>
            <c:dLbl>
              <c:idx val="1"/>
              <c:tx>
                <c:rich>
                  <a:bodyPr/>
                  <a:lstStyle/>
                  <a:p>
                    <a:r>
                      <a:t>IX 100</a:t>
                    </a:r>
                  </a:p>
                  <a:p>
                    <a:r>
                      <a:t>1180.1</a:t>
                    </a:r>
                  </a:p>
                </c:rich>
              </c:tx>
              <c:dLblPos val="l"/>
              <c:showLegendKey val="0"/>
              <c:showVal val="1"/>
              <c:showCatName val="0"/>
              <c:showSerName val="0"/>
              <c:showPercent val="0"/>
              <c:showBubbleSize val="0"/>
            </c:dLbl>
            <c:dLbl>
              <c:idx val="2"/>
              <c:tx>
                <c:rich>
                  <a:bodyPr/>
                  <a:lstStyle/>
                  <a:p>
                    <a:r>
                      <a:t>IX 100</a:t>
                    </a:r>
                  </a:p>
                  <a:p>
                    <a:r>
                      <a:t>578.32</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C$2:$C$5</c:f>
              <c:numCache>
                <c:formatCode>General</c:formatCode>
                <c:ptCount val="4"/>
                <c:pt idx="0">
                  <c:v>1408.65</c:v>
                </c:pt>
                <c:pt idx="1">
                  <c:v>1180.1</c:v>
                </c:pt>
                <c:pt idx="2">
                  <c:v>578.3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D$2:$D$5</c:f>
              <c:numCache>
                <c:formatCode>General</c:formatCode>
                <c:ptCount val="4"/>
                <c:pt idx="0">
                  <c:v>2037.97</c:v>
                </c:pt>
                <c:pt idx="1">
                  <c:v>1378.46</c:v>
                </c:pt>
                <c:pt idx="2">
                  <c:v>599.7</c:v>
                </c:pt>
                <c:pt idx="3">
                  <c:v>8526.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E$2:$E$5</c:f>
              <c:numCache>
                <c:formatCode>General</c:formatCode>
                <c:ptCount val="4"/>
                <c:pt idx="0">
                  <c:v>7702.2</c:v>
                </c:pt>
                <c:pt idx="1">
                  <c:v>9841.0</c:v>
                </c:pt>
                <c:pt idx="2">
                  <c:v>12975.0</c:v>
                </c:pt>
                <c:pt idx="3">
                  <c:v>8398.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F$2:$F$5</c:f>
              <c:numCache>
                <c:formatCode>General</c:formatCode>
                <c:ptCount val="4"/>
                <c:pt idx="0">
                  <c:v>7586.08</c:v>
                </c:pt>
                <c:pt idx="3">
                  <c:v>13619.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619.778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
                </c:pt>
                <c:pt idx="3">
                  <c:v>IX 0</c:v>
                </c:pt>
                <c:pt idx="4">
                  <c:v/>
                </c:pt>
              </c:strCache>
            </c:strRef>
          </c:cat>
          <c:val>
            <c:numRef>
              <c:f>Sheet1!$B$2:$B$6</c:f>
              <c:numCache>
                <c:formatCode>General</c:formatCode>
                <c:ptCount val="5"/>
                <c:pt idx="0">
                  <c:v>759.84</c:v>
                </c:pt>
                <c:pt idx="1">
                  <c:v>1539.74</c:v>
                </c:pt>
                <c:pt idx="2">
                  <c:v>1974.33</c:v>
                </c:pt>
                <c:pt idx="3">
                  <c:v>1822.29</c:v>
                </c:pt>
                <c:pt idx="4">
                  <c:v>80798.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49.41</a:t>
                    </a:r>
                  </a:p>
                </c:rich>
              </c:tx>
              <c:dLblPos val="l"/>
              <c:showLegendKey val="0"/>
              <c:showVal val="1"/>
              <c:showCatName val="0"/>
              <c:showSerName val="0"/>
              <c:showPercent val="0"/>
              <c:showBubbleSize val="0"/>
            </c:dLbl>
            <c:dLbl>
              <c:idx val="1"/>
              <c:tx>
                <c:rich>
                  <a:bodyPr/>
                  <a:lstStyle/>
                  <a:p>
                    <a:r>
                      <a:t>IX 60</a:t>
                    </a:r>
                  </a:p>
                  <a:p>
                    <a:r>
                      <a:t>881.9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
                </c:pt>
                <c:pt idx="3">
                  <c:v>IX 0</c:v>
                </c:pt>
                <c:pt idx="4">
                  <c:v/>
                </c:pt>
              </c:strCache>
            </c:strRef>
          </c:cat>
          <c:val>
            <c:numRef>
              <c:f>Sheet1!$C$2:$C$6</c:f>
              <c:numCache>
                <c:formatCode>General</c:formatCode>
                <c:ptCount val="5"/>
                <c:pt idx="0">
                  <c:v>1449.41</c:v>
                </c:pt>
                <c:pt idx="1">
                  <c:v>881.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oderm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
                </c:pt>
                <c:pt idx="3">
                  <c:v>IX 0</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iersdorf</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
                </c:pt>
                <c:pt idx="3">
                  <c:v>IX 0</c:v>
                </c:pt>
                <c:pt idx="4">
                  <c:v/>
                </c:pt>
              </c:strCache>
            </c:strRef>
          </c:cat>
          <c:val>
            <c:numRef>
              <c:f>Sheet1!$E$2:$E$6</c:f>
              <c:numCache>
                <c:formatCode>General</c:formatCode>
                <c:ptCount val="5"/>
                <c:pt idx="1">
                  <c:v>1467.71</c:v>
                </c:pt>
                <c:pt idx="2">
                  <c:v>1964.31</c:v>
                </c:pt>
                <c:pt idx="3">
                  <c:v>1796.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60</c:v>
                </c:pt>
                <c:pt idx="2">
                  <c:v/>
                </c:pt>
                <c:pt idx="3">
                  <c:v>IX 0</c:v>
                </c:pt>
                <c:pt idx="4">
                  <c:v/>
                </c:pt>
              </c:strCache>
            </c:strRef>
          </c:cat>
          <c:val>
            <c:numRef>
              <c:f>Sheet1!$F$2:$F$6</c:f>
              <c:numCache>
                <c:formatCode>General</c:formatCode>
                <c:ptCount val="5"/>
                <c:pt idx="1">
                  <c:v>3881.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798.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6</c:v>
                </c:pt>
                <c:pt idx="2">
                  <c:v>IX 100</c:v>
                </c:pt>
                <c:pt idx="3">
                  <c:v/>
                </c:pt>
                <c:pt idx="4">
                  <c:v>IX 94</c:v>
                </c:pt>
              </c:strCache>
            </c:strRef>
          </c:cat>
          <c:val>
            <c:numRef>
              <c:f>Sheet1!$B$2:$B$6</c:f>
              <c:numCache>
                <c:formatCode>General</c:formatCode>
                <c:ptCount val="5"/>
                <c:pt idx="0">
                  <c:v>1877.33</c:v>
                </c:pt>
                <c:pt idx="1">
                  <c:v>1538.62</c:v>
                </c:pt>
                <c:pt idx="2">
                  <c:v>1644.41</c:v>
                </c:pt>
                <c:pt idx="3">
                  <c:v>1854.7</c:v>
                </c:pt>
                <c:pt idx="4">
                  <c:v>12970.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1</a:t>
                    </a:r>
                  </a:p>
                  <a:p>
                    <a:r>
                      <a:t>1226.75</a:t>
                    </a:r>
                  </a:p>
                </c:rich>
              </c:tx>
              <c:dLblPos val="l"/>
              <c:showLegendKey val="0"/>
              <c:showVal val="1"/>
              <c:showCatName val="0"/>
              <c:showSerName val="0"/>
              <c:showPercent val="0"/>
              <c:showBubbleSize val="0"/>
            </c:dLbl>
            <c:dLbl>
              <c:idx val="1"/>
              <c:tx>
                <c:rich>
                  <a:bodyPr/>
                  <a:lstStyle/>
                  <a:p>
                    <a:r>
                      <a:t>IX 96</a:t>
                    </a:r>
                  </a:p>
                  <a:p>
                    <a:r>
                      <a:t>1420.1</a:t>
                    </a:r>
                  </a:p>
                </c:rich>
              </c:tx>
              <c:dLblPos val="l"/>
              <c:showLegendKey val="0"/>
              <c:showVal val="1"/>
              <c:showCatName val="0"/>
              <c:showSerName val="0"/>
              <c:showPercent val="0"/>
              <c:showBubbleSize val="0"/>
            </c:dLbl>
            <c:dLbl>
              <c:idx val="2"/>
              <c:tx>
                <c:rich>
                  <a:bodyPr/>
                  <a:lstStyle/>
                  <a:p>
                    <a:r>
                      <a:t>IX 100</a:t>
                    </a:r>
                  </a:p>
                  <a:p>
                    <a:r>
                      <a:t>1578.4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4</a:t>
                    </a:r>
                  </a:p>
                  <a:p>
                    <a:r>
                      <a:t>7506.5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6</c:v>
                </c:pt>
                <c:pt idx="2">
                  <c:v>IX 100</c:v>
                </c:pt>
                <c:pt idx="3">
                  <c:v/>
                </c:pt>
                <c:pt idx="4">
                  <c:v>IX 94</c:v>
                </c:pt>
              </c:strCache>
            </c:strRef>
          </c:cat>
          <c:val>
            <c:numRef>
              <c:f>Sheet1!$C$2:$C$6</c:f>
              <c:numCache>
                <c:formatCode>General</c:formatCode>
                <c:ptCount val="5"/>
                <c:pt idx="0">
                  <c:v>1226.75</c:v>
                </c:pt>
                <c:pt idx="1">
                  <c:v>1420.1</c:v>
                </c:pt>
                <c:pt idx="2">
                  <c:v>1578.48</c:v>
                </c:pt>
                <c:pt idx="4">
                  <c:v>7506.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6</c:v>
                </c:pt>
                <c:pt idx="2">
                  <c:v>IX 100</c:v>
                </c:pt>
                <c:pt idx="3">
                  <c:v/>
                </c:pt>
                <c:pt idx="4">
                  <c:v>IX 94</c:v>
                </c:pt>
              </c:strCache>
            </c:strRef>
          </c:cat>
          <c:val>
            <c:numRef>
              <c:f>Sheet1!$D$2:$D$6</c:f>
              <c:numCache>
                <c:formatCode>General</c:formatCode>
                <c:ptCount val="5"/>
                <c:pt idx="0">
                  <c:v>2965.26</c:v>
                </c:pt>
                <c:pt idx="1">
                  <c:v>1485.7</c:v>
                </c:pt>
                <c:pt idx="2">
                  <c:v>1773.17</c:v>
                </c:pt>
                <c:pt idx="3">
                  <c:v>1655.91</c:v>
                </c:pt>
                <c:pt idx="4">
                  <c:v>794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6</c:v>
                </c:pt>
                <c:pt idx="2">
                  <c:v>IX 100</c:v>
                </c:pt>
                <c:pt idx="3">
                  <c:v/>
                </c:pt>
                <c:pt idx="4">
                  <c:v>IX 94</c:v>
                </c:pt>
              </c:strCache>
            </c:strRef>
          </c:cat>
          <c:val>
            <c:numRef>
              <c:f>Sheet1!$E$2:$E$6</c:f>
              <c:numCache>
                <c:formatCode>General</c:formatCode>
                <c:ptCount val="5"/>
                <c:pt idx="0">
                  <c:v>6656.97</c:v>
                </c:pt>
                <c:pt idx="1">
                  <c:v>7101.24</c:v>
                </c:pt>
                <c:pt idx="3">
                  <c:v>11335.23</c:v>
                </c:pt>
                <c:pt idx="4">
                  <c:v>23059.3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6</c:v>
                </c:pt>
                <c:pt idx="2">
                  <c:v>IX 100</c:v>
                </c:pt>
                <c:pt idx="3">
                  <c:v/>
                </c:pt>
                <c:pt idx="4">
                  <c:v>IX 94</c:v>
                </c:pt>
              </c:strCache>
            </c:strRef>
          </c:cat>
          <c:val>
            <c:numRef>
              <c:f>Sheet1!$F$2:$F$6</c:f>
              <c:numCache>
                <c:formatCode>General</c:formatCode>
                <c:ptCount val="5"/>
                <c:pt idx="0">
                  <c:v>16069.33</c:v>
                </c:pt>
                <c:pt idx="2">
                  <c:v>6397.55</c:v>
                </c:pt>
                <c:pt idx="3">
                  <c:v>2579.04</c:v>
                </c:pt>
                <c:pt idx="4">
                  <c:v>23475.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475.6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B$2:$B$5</c:f>
              <c:numCache>
                <c:formatCode>General</c:formatCode>
                <c:ptCount val="4"/>
                <c:pt idx="0">
                  <c:v>1313.01</c:v>
                </c:pt>
                <c:pt idx="3">
                  <c:v>280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57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2808.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C$2:$C$5</c:f>
              <c:numCache>
                <c:formatCode>General</c:formatCode>
                <c:ptCount val="4"/>
                <c:pt idx="0">
                  <c:v>1575.5</c:v>
                </c:pt>
                <c:pt idx="3">
                  <c:v>28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Orea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D$2:$D$5</c:f>
              <c:numCache>
                <c:formatCode>General</c:formatCode>
                <c:ptCount val="4"/>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bs. Expanscie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09.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IX 100</c:v>
                </c:pt>
                <c:pt idx="2">
                  <c:v/>
                </c:pt>
                <c:pt idx="3">
                  <c:v>IX 138</c:v>
                </c:pt>
                <c:pt idx="4">
                  <c:v/>
                </c:pt>
              </c:strCache>
            </c:strRef>
          </c:cat>
          <c:val>
            <c:numRef>
              <c:f>Sheet1!$B$2:$B$6</c:f>
              <c:numCache>
                <c:formatCode>General</c:formatCode>
                <c:ptCount val="5"/>
                <c:pt idx="0">
                  <c:v>1526.98</c:v>
                </c:pt>
                <c:pt idx="1">
                  <c:v>820.76</c:v>
                </c:pt>
                <c:pt idx="2">
                  <c:v>2024.2</c:v>
                </c:pt>
                <c:pt idx="3">
                  <c:v>1621.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1</a:t>
                    </a:r>
                  </a:p>
                  <a:p>
                    <a:r>
                      <a:t>917.0</a:t>
                    </a:r>
                  </a:p>
                </c:rich>
              </c:tx>
              <c:dLblPos val="l"/>
              <c:showLegendKey val="0"/>
              <c:showVal val="1"/>
              <c:showCatName val="0"/>
              <c:showSerName val="0"/>
              <c:showPercent val="0"/>
              <c:showBubbleSize val="0"/>
            </c:dLbl>
            <c:dLbl>
              <c:idx val="1"/>
              <c:tx>
                <c:rich>
                  <a:bodyPr/>
                  <a:lstStyle/>
                  <a:p>
                    <a:r>
                      <a:t>IX 100</a:t>
                    </a:r>
                  </a:p>
                  <a:p>
                    <a:r>
                      <a:t>1413.6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38</a:t>
                    </a:r>
                  </a:p>
                  <a:p>
                    <a:r>
                      <a:t>221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IX 100</c:v>
                </c:pt>
                <c:pt idx="2">
                  <c:v/>
                </c:pt>
                <c:pt idx="3">
                  <c:v>IX 138</c:v>
                </c:pt>
                <c:pt idx="4">
                  <c:v/>
                </c:pt>
              </c:strCache>
            </c:strRef>
          </c:cat>
          <c:val>
            <c:numRef>
              <c:f>Sheet1!$C$2:$C$6</c:f>
              <c:numCache>
                <c:formatCode>General</c:formatCode>
                <c:ptCount val="5"/>
                <c:pt idx="0">
                  <c:v>917.0</c:v>
                </c:pt>
                <c:pt idx="1">
                  <c:v>1413.62</c:v>
                </c:pt>
                <c:pt idx="3">
                  <c:v>221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IX 100</c:v>
                </c:pt>
                <c:pt idx="2">
                  <c:v/>
                </c:pt>
                <c:pt idx="3">
                  <c:v>IX 138</c:v>
                </c:pt>
                <c:pt idx="4">
                  <c:v/>
                </c:pt>
              </c:strCache>
            </c:strRef>
          </c:cat>
          <c:val>
            <c:numRef>
              <c:f>Sheet1!$D$2:$D$6</c:f>
              <c:numCache>
                <c:formatCode>General</c:formatCode>
                <c:ptCount val="5"/>
                <c:pt idx="0">
                  <c:v>1497.46</c:v>
                </c:pt>
                <c:pt idx="2">
                  <c:v>2024.2</c:v>
                </c:pt>
                <c:pt idx="3">
                  <c:v>1604.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ierre Fab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IX 100</c:v>
                </c:pt>
                <c:pt idx="2">
                  <c:v/>
                </c:pt>
                <c:pt idx="3">
                  <c:v>IX 138</c:v>
                </c:pt>
                <c:pt idx="4">
                  <c:v/>
                </c:pt>
              </c:strCache>
            </c:strRef>
          </c:cat>
          <c:val>
            <c:numRef>
              <c:f>Sheet1!$E$2:$E$6</c:f>
              <c:numCache>
                <c:formatCode>General</c:formatCode>
                <c:ptCount val="5"/>
                <c:pt idx="0">
                  <c:v>3820.6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1</c:v>
                </c:pt>
                <c:pt idx="1">
                  <c:v>IX 100</c:v>
                </c:pt>
                <c:pt idx="2">
                  <c:v/>
                </c:pt>
                <c:pt idx="3">
                  <c:v>IX 138</c:v>
                </c:pt>
                <c:pt idx="4">
                  <c:v/>
                </c:pt>
              </c:strCache>
            </c:strRef>
          </c:cat>
          <c:val>
            <c:numRef>
              <c:f>Sheet1!$F$2:$F$6</c:f>
              <c:numCache>
                <c:formatCode>General</c:formatCode>
                <c:ptCount val="5"/>
                <c:pt idx="0">
                  <c:v>617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71.0"/>
          <c:min val="820.26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94</c:v>
                </c:pt>
                <c:pt idx="3">
                  <c:v/>
                </c:pt>
                <c:pt idx="4">
                  <c:v/>
                </c:pt>
              </c:strCache>
            </c:strRef>
          </c:cat>
          <c:val>
            <c:numRef>
              <c:f>Sheet1!$B$2:$B$6</c:f>
              <c:numCache>
                <c:formatCode>General</c:formatCode>
                <c:ptCount val="5"/>
                <c:pt idx="0">
                  <c:v>1965.78</c:v>
                </c:pt>
                <c:pt idx="1">
                  <c:v>1527.12</c:v>
                </c:pt>
                <c:pt idx="2">
                  <c:v>1638.76</c:v>
                </c:pt>
                <c:pt idx="3">
                  <c:v>1967.5</c:v>
                </c:pt>
                <c:pt idx="4">
                  <c:v>12022.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270.75</a:t>
                    </a:r>
                  </a:p>
                </c:rich>
              </c:tx>
              <c:dLblPos val="l"/>
              <c:showLegendKey val="0"/>
              <c:showVal val="1"/>
              <c:showCatName val="0"/>
              <c:showSerName val="0"/>
              <c:showPercent val="0"/>
              <c:showBubbleSize val="0"/>
            </c:dLbl>
            <c:dLbl>
              <c:idx val="1"/>
              <c:tx>
                <c:rich>
                  <a:bodyPr/>
                  <a:lstStyle/>
                  <a:p>
                    <a:r>
                      <a:t>IX 100</a:t>
                    </a:r>
                  </a:p>
                  <a:p>
                    <a:r>
                      <a:t>1319.05</a:t>
                    </a:r>
                  </a:p>
                </c:rich>
              </c:tx>
              <c:dLblPos val="l"/>
              <c:showLegendKey val="0"/>
              <c:showVal val="1"/>
              <c:showCatName val="0"/>
              <c:showSerName val="0"/>
              <c:showPercent val="0"/>
              <c:showBubbleSize val="0"/>
            </c:dLbl>
            <c:dLbl>
              <c:idx val="2"/>
              <c:tx>
                <c:rich>
                  <a:bodyPr/>
                  <a:lstStyle/>
                  <a:p>
                    <a:r>
                      <a:t>IX 94</a:t>
                    </a:r>
                  </a:p>
                  <a:p>
                    <a:r>
                      <a:t>1593.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94</c:v>
                </c:pt>
                <c:pt idx="3">
                  <c:v/>
                </c:pt>
                <c:pt idx="4">
                  <c:v/>
                </c:pt>
              </c:strCache>
            </c:strRef>
          </c:cat>
          <c:val>
            <c:numRef>
              <c:f>Sheet1!$C$2:$C$6</c:f>
              <c:numCache>
                <c:formatCode>General</c:formatCode>
                <c:ptCount val="5"/>
                <c:pt idx="0">
                  <c:v>1270.75</c:v>
                </c:pt>
                <c:pt idx="1">
                  <c:v>1319.05</c:v>
                </c:pt>
                <c:pt idx="2">
                  <c:v>159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94</c:v>
                </c:pt>
                <c:pt idx="3">
                  <c:v/>
                </c:pt>
                <c:pt idx="4">
                  <c:v/>
                </c:pt>
              </c:strCache>
            </c:strRef>
          </c:cat>
          <c:val>
            <c:numRef>
              <c:f>Sheet1!$D$2:$D$6</c:f>
              <c:numCache>
                <c:formatCode>General</c:formatCode>
                <c:ptCount val="5"/>
                <c:pt idx="0">
                  <c:v>2672.15</c:v>
                </c:pt>
                <c:pt idx="1">
                  <c:v>1461.2</c:v>
                </c:pt>
                <c:pt idx="2">
                  <c:v>1702.84</c:v>
                </c:pt>
                <c:pt idx="3">
                  <c:v>1466.12</c:v>
                </c:pt>
                <c:pt idx="4">
                  <c:v>769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94</c:v>
                </c:pt>
                <c:pt idx="3">
                  <c:v/>
                </c:pt>
                <c:pt idx="4">
                  <c:v/>
                </c:pt>
              </c:strCache>
            </c:strRef>
          </c:cat>
          <c:val>
            <c:numRef>
              <c:f>Sheet1!$E$2:$E$6</c:f>
              <c:numCache>
                <c:formatCode>General</c:formatCode>
                <c:ptCount val="5"/>
                <c:pt idx="0">
                  <c:v>13002.19</c:v>
                </c:pt>
                <c:pt idx="1">
                  <c:v>18108.84</c:v>
                </c:pt>
                <c:pt idx="2">
                  <c:v>6237.94</c:v>
                </c:pt>
                <c:pt idx="3">
                  <c:v>2647.89</c:v>
                </c:pt>
                <c:pt idx="4">
                  <c:v>14100.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94</c:v>
                </c:pt>
                <c:pt idx="3">
                  <c:v/>
                </c:pt>
                <c:pt idx="4">
                  <c:v/>
                </c:pt>
              </c:strCache>
            </c:strRef>
          </c:cat>
          <c:val>
            <c:numRef>
              <c:f>Sheet1!$F$2:$F$6</c:f>
              <c:numCache>
                <c:formatCode>General</c:formatCode>
                <c:ptCount val="5"/>
                <c:pt idx="0">
                  <c:v>5695.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09.3375"/>
          <c:min val="1270.2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7</c:v>
                </c:pt>
                <c:pt idx="2">
                  <c:v>IX 86</c:v>
                </c:pt>
                <c:pt idx="3">
                  <c:v/>
                </c:pt>
                <c:pt idx="4">
                  <c:v>IX 44</c:v>
                </c:pt>
              </c:strCache>
            </c:strRef>
          </c:cat>
          <c:val>
            <c:numRef>
              <c:f>Sheet1!$B$2:$B$6</c:f>
              <c:numCache>
                <c:formatCode>General</c:formatCode>
                <c:ptCount val="5"/>
                <c:pt idx="0">
                  <c:v>1965.78</c:v>
                </c:pt>
                <c:pt idx="1">
                  <c:v>1527.12</c:v>
                </c:pt>
                <c:pt idx="2">
                  <c:v>1638.76</c:v>
                </c:pt>
                <c:pt idx="3">
                  <c:v>1967.5</c:v>
                </c:pt>
                <c:pt idx="4">
                  <c:v>12022.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176.75</a:t>
                    </a:r>
                  </a:p>
                </c:rich>
              </c:tx>
              <c:dLblPos val="l"/>
              <c:showLegendKey val="0"/>
              <c:showVal val="1"/>
              <c:showCatName val="0"/>
              <c:showSerName val="0"/>
              <c:showPercent val="0"/>
              <c:showBubbleSize val="0"/>
            </c:dLbl>
            <c:dLbl>
              <c:idx val="1"/>
              <c:tx>
                <c:rich>
                  <a:bodyPr/>
                  <a:lstStyle/>
                  <a:p>
                    <a:r>
                      <a:t>IX 87</a:t>
                    </a:r>
                  </a:p>
                  <a:p>
                    <a:r>
                      <a:t>1265.81</a:t>
                    </a:r>
                  </a:p>
                </c:rich>
              </c:tx>
              <c:dLblPos val="l"/>
              <c:showLegendKey val="0"/>
              <c:showVal val="1"/>
              <c:showCatName val="0"/>
              <c:showSerName val="0"/>
              <c:showPercent val="0"/>
              <c:showBubbleSize val="0"/>
            </c:dLbl>
            <c:dLbl>
              <c:idx val="2"/>
              <c:tx>
                <c:rich>
                  <a:bodyPr/>
                  <a:lstStyle/>
                  <a:p>
                    <a:r>
                      <a:t>IX 86</a:t>
                    </a:r>
                  </a:p>
                  <a:p>
                    <a:r>
                      <a:t>1462.6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4</a:t>
                    </a:r>
                  </a:p>
                  <a:p>
                    <a:r>
                      <a:t>6153.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7</c:v>
                </c:pt>
                <c:pt idx="2">
                  <c:v>IX 86</c:v>
                </c:pt>
                <c:pt idx="3">
                  <c:v/>
                </c:pt>
                <c:pt idx="4">
                  <c:v>IX 44</c:v>
                </c:pt>
              </c:strCache>
            </c:strRef>
          </c:cat>
          <c:val>
            <c:numRef>
              <c:f>Sheet1!$C$2:$C$6</c:f>
              <c:numCache>
                <c:formatCode>General</c:formatCode>
                <c:ptCount val="5"/>
                <c:pt idx="0">
                  <c:v>1176.75</c:v>
                </c:pt>
                <c:pt idx="1">
                  <c:v>1265.81</c:v>
                </c:pt>
                <c:pt idx="2">
                  <c:v>1462.67</c:v>
                </c:pt>
                <c:pt idx="4">
                  <c:v>615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7</c:v>
                </c:pt>
                <c:pt idx="2">
                  <c:v>IX 86</c:v>
                </c:pt>
                <c:pt idx="3">
                  <c:v/>
                </c:pt>
                <c:pt idx="4">
                  <c:v>IX 44</c:v>
                </c:pt>
              </c:strCache>
            </c:strRef>
          </c:cat>
          <c:val>
            <c:numRef>
              <c:f>Sheet1!$D$2:$D$6</c:f>
              <c:numCache>
                <c:formatCode>General</c:formatCode>
                <c:ptCount val="5"/>
                <c:pt idx="0">
                  <c:v>2672.15</c:v>
                </c:pt>
                <c:pt idx="1">
                  <c:v>1461.2</c:v>
                </c:pt>
                <c:pt idx="2">
                  <c:v>1702.84</c:v>
                </c:pt>
                <c:pt idx="3">
                  <c:v>1466.12</c:v>
                </c:pt>
                <c:pt idx="4">
                  <c:v>769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7</c:v>
                </c:pt>
                <c:pt idx="2">
                  <c:v>IX 86</c:v>
                </c:pt>
                <c:pt idx="3">
                  <c:v/>
                </c:pt>
                <c:pt idx="4">
                  <c:v>IX 44</c:v>
                </c:pt>
              </c:strCache>
            </c:strRef>
          </c:cat>
          <c:val>
            <c:numRef>
              <c:f>Sheet1!$E$2:$E$6</c:f>
              <c:numCache>
                <c:formatCode>General</c:formatCode>
                <c:ptCount val="5"/>
                <c:pt idx="0">
                  <c:v>13002.19</c:v>
                </c:pt>
                <c:pt idx="1">
                  <c:v>18108.84</c:v>
                </c:pt>
                <c:pt idx="2">
                  <c:v>6237.94</c:v>
                </c:pt>
                <c:pt idx="3">
                  <c:v>2647.89</c:v>
                </c:pt>
                <c:pt idx="4">
                  <c:v>14100.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7</c:v>
                </c:pt>
                <c:pt idx="2">
                  <c:v>IX 86</c:v>
                </c:pt>
                <c:pt idx="3">
                  <c:v/>
                </c:pt>
                <c:pt idx="4">
                  <c:v>IX 44</c:v>
                </c:pt>
              </c:strCache>
            </c:strRef>
          </c:cat>
          <c:val>
            <c:numRef>
              <c:f>Sheet1!$F$2:$F$6</c:f>
              <c:numCache>
                <c:formatCode>General</c:formatCode>
                <c:ptCount val="5"/>
                <c:pt idx="0">
                  <c:v>5695.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09.3375"/>
          <c:min val="1176.25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5</c:v>
                </c:pt>
                <c:pt idx="2">
                  <c:v/>
                </c:pt>
                <c:pt idx="3">
                  <c:v/>
                </c:pt>
                <c:pt idx="4">
                  <c:v/>
                </c:pt>
              </c:strCache>
            </c:strRef>
          </c:cat>
          <c:val>
            <c:numRef>
              <c:f>Sheet1!$B$2:$B$6</c:f>
              <c:numCache>
                <c:formatCode>General</c:formatCode>
                <c:ptCount val="5"/>
                <c:pt idx="0">
                  <c:v>1965.78</c:v>
                </c:pt>
                <c:pt idx="1">
                  <c:v>1527.12</c:v>
                </c:pt>
                <c:pt idx="2">
                  <c:v>1638.76</c:v>
                </c:pt>
                <c:pt idx="3">
                  <c:v>1967.5</c:v>
                </c:pt>
                <c:pt idx="4">
                  <c:v>12022.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35</a:t>
                    </a:r>
                  </a:p>
                  <a:p>
                    <a:r>
                      <a:t>4900.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5</c:v>
                </c:pt>
                <c:pt idx="2">
                  <c:v/>
                </c:pt>
                <c:pt idx="3">
                  <c:v/>
                </c:pt>
                <c:pt idx="4">
                  <c:v/>
                </c:pt>
              </c:strCache>
            </c:strRef>
          </c:cat>
          <c:val>
            <c:numRef>
              <c:f>Sheet1!$C$2:$C$6</c:f>
              <c:numCache>
                <c:formatCode>General</c:formatCode>
                <c:ptCount val="5"/>
                <c:pt idx="1">
                  <c:v>490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5</c:v>
                </c:pt>
                <c:pt idx="2">
                  <c:v/>
                </c:pt>
                <c:pt idx="3">
                  <c:v/>
                </c:pt>
                <c:pt idx="4">
                  <c:v/>
                </c:pt>
              </c:strCache>
            </c:strRef>
          </c:cat>
          <c:val>
            <c:numRef>
              <c:f>Sheet1!$D$2:$D$6</c:f>
              <c:numCache>
                <c:formatCode>General</c:formatCode>
                <c:ptCount val="5"/>
                <c:pt idx="0">
                  <c:v>2672.15</c:v>
                </c:pt>
                <c:pt idx="1">
                  <c:v>1461.2</c:v>
                </c:pt>
                <c:pt idx="2">
                  <c:v>1702.84</c:v>
                </c:pt>
                <c:pt idx="3">
                  <c:v>1466.12</c:v>
                </c:pt>
                <c:pt idx="4">
                  <c:v>769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5</c:v>
                </c:pt>
                <c:pt idx="2">
                  <c:v/>
                </c:pt>
                <c:pt idx="3">
                  <c:v/>
                </c:pt>
                <c:pt idx="4">
                  <c:v/>
                </c:pt>
              </c:strCache>
            </c:strRef>
          </c:cat>
          <c:val>
            <c:numRef>
              <c:f>Sheet1!$E$2:$E$6</c:f>
              <c:numCache>
                <c:formatCode>General</c:formatCode>
                <c:ptCount val="5"/>
                <c:pt idx="0">
                  <c:v>13002.19</c:v>
                </c:pt>
                <c:pt idx="1">
                  <c:v>18108.84</c:v>
                </c:pt>
                <c:pt idx="2">
                  <c:v>6237.94</c:v>
                </c:pt>
                <c:pt idx="3">
                  <c:v>2647.89</c:v>
                </c:pt>
                <c:pt idx="4">
                  <c:v>14100.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5</c:v>
                </c:pt>
                <c:pt idx="2">
                  <c:v/>
                </c:pt>
                <c:pt idx="3">
                  <c:v/>
                </c:pt>
                <c:pt idx="4">
                  <c:v/>
                </c:pt>
              </c:strCache>
            </c:strRef>
          </c:cat>
          <c:val>
            <c:numRef>
              <c:f>Sheet1!$F$2:$F$6</c:f>
              <c:numCache>
                <c:formatCode>General</c:formatCode>
                <c:ptCount val="5"/>
                <c:pt idx="0">
                  <c:v>5695.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09.3375"/>
          <c:min val="1460.69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
                </c:pt>
                <c:pt idx="4">
                  <c:v/>
                </c:pt>
              </c:strCache>
            </c:strRef>
          </c:cat>
          <c:val>
            <c:numRef>
              <c:f>Sheet1!$B$2:$B$6</c:f>
              <c:numCache>
                <c:formatCode>General</c:formatCode>
                <c:ptCount val="5"/>
                <c:pt idx="0">
                  <c:v>14996.85</c:v>
                </c:pt>
                <c:pt idx="1">
                  <c:v>1535.15</c:v>
                </c:pt>
                <c:pt idx="2">
                  <c:v>11298.25</c:v>
                </c:pt>
                <c:pt idx="3">
                  <c:v>3215.1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179.69</a:t>
                    </a:r>
                  </a:p>
                </c:rich>
              </c:tx>
              <c:dLblPos val="l"/>
              <c:showLegendKey val="0"/>
              <c:showVal val="1"/>
              <c:showCatName val="0"/>
              <c:showSerName val="0"/>
              <c:showPercent val="0"/>
              <c:showBubbleSize val="0"/>
            </c:dLbl>
            <c:dLbl>
              <c:idx val="2"/>
              <c:tx>
                <c:rich>
                  <a:bodyPr/>
                  <a:lstStyle/>
                  <a:p>
                    <a:r>
                      <a:t>IX 7</a:t>
                    </a:r>
                  </a:p>
                  <a:p>
                    <a:r>
                      <a:t>1210.8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
                </c:pt>
                <c:pt idx="4">
                  <c:v/>
                </c:pt>
              </c:strCache>
            </c:strRef>
          </c:cat>
          <c:val>
            <c:numRef>
              <c:f>Sheet1!$C$2:$C$6</c:f>
              <c:numCache>
                <c:formatCode>General</c:formatCode>
                <c:ptCount val="5"/>
                <c:pt idx="1">
                  <c:v>1179.69</c:v>
                </c:pt>
                <c:pt idx="2">
                  <c:v>1210.8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
                </c:pt>
                <c:pt idx="4">
                  <c:v/>
                </c:pt>
              </c:strCache>
            </c:strRef>
          </c:cat>
          <c:val>
            <c:numRef>
              <c:f>Sheet1!$D$2:$D$6</c:f>
              <c:numCache>
                <c:formatCode>General</c:formatCode>
                <c:ptCount val="5"/>
                <c:pt idx="0">
                  <c:v>14996.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ustel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IX 7</c:v>
                </c:pt>
                <c:pt idx="3">
                  <c:v/>
                </c:pt>
                <c:pt idx="4">
                  <c:v/>
                </c:pt>
              </c:strCache>
            </c:strRef>
          </c:cat>
          <c:val>
            <c:numRef>
              <c:f>Sheet1!$F$2:$F$6</c:f>
              <c:numCache>
                <c:formatCode>General</c:formatCode>
                <c:ptCount val="5"/>
                <c:pt idx="2">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1179.18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B$2:$B$6</c:f>
              <c:numCache>
                <c:formatCode>General</c:formatCode>
                <c:ptCount val="5"/>
                <c:pt idx="0">
                  <c:v>14996.85</c:v>
                </c:pt>
                <c:pt idx="1">
                  <c:v>1535.15</c:v>
                </c:pt>
                <c:pt idx="2">
                  <c:v>11298.25</c:v>
                </c:pt>
                <c:pt idx="3">
                  <c:v>3215.1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215.14</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C$2:$C$6</c:f>
              <c:numCache>
                <c:formatCode>General</c:formatCode>
                <c:ptCount val="5"/>
                <c:pt idx="3">
                  <c:v>3215.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D$2:$D$6</c:f>
              <c:numCache>
                <c:formatCode>General</c:formatCode>
                <c:ptCount val="5"/>
                <c:pt idx="0">
                  <c:v>14996.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E$2:$E$6</c:f>
              <c:numCache>
                <c:formatCode>General</c:formatCode>
                <c:ptCount val="5"/>
                <c:pt idx="2">
                  <c:v>17813.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1534.6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B$2:$B$6</c:f>
              <c:numCache>
                <c:formatCode>General</c:formatCode>
                <c:ptCount val="5"/>
                <c:pt idx="0">
                  <c:v>771.99</c:v>
                </c:pt>
                <c:pt idx="1">
                  <c:v>1491.26</c:v>
                </c:pt>
                <c:pt idx="2">
                  <c:v>1884.37</c:v>
                </c:pt>
                <c:pt idx="3">
                  <c:v>1775.11</c:v>
                </c:pt>
                <c:pt idx="4">
                  <c:v>37176.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6</a:t>
                    </a:r>
                  </a:p>
                  <a:p>
                    <a:r>
                      <a:t>813.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C$2:$C$6</c:f>
              <c:numCache>
                <c:formatCode>General</c:formatCode>
                <c:ptCount val="5"/>
                <c:pt idx="1">
                  <c:v>813.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D$2:$D$6</c:f>
              <c:numCache>
                <c:formatCode>General</c:formatCode>
                <c:ptCount val="5"/>
                <c:pt idx="1">
                  <c:v>1445.91</c:v>
                </c:pt>
                <c:pt idx="2">
                  <c:v>1881.34</c:v>
                </c:pt>
                <c:pt idx="3">
                  <c:v>1756.3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6</c:v>
                </c:pt>
                <c:pt idx="2">
                  <c:v/>
                </c:pt>
                <c:pt idx="3">
                  <c:v/>
                </c:pt>
                <c:pt idx="4">
                  <c:v/>
                </c:pt>
              </c:strCache>
            </c:strRef>
          </c:cat>
          <c:val>
            <c:numRef>
              <c:f>Sheet1!$F$2:$F$6</c:f>
              <c:numCache>
                <c:formatCode>General</c:formatCode>
                <c:ptCount val="5"/>
                <c:pt idx="1">
                  <c:v>2616.6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176.9"/>
          <c:min val="771.48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40</c:v>
                </c:pt>
              </c:strCache>
            </c:strRef>
          </c:cat>
          <c:val>
            <c:numRef>
              <c:f>Sheet1!$B$2:$B$5</c:f>
              <c:numCache>
                <c:formatCode>General</c:formatCode>
                <c:ptCount val="4"/>
                <c:pt idx="0">
                  <c:v>1760.2</c:v>
                </c:pt>
                <c:pt idx="1">
                  <c:v>1237.38</c:v>
                </c:pt>
                <c:pt idx="2">
                  <c:v>602.58</c:v>
                </c:pt>
                <c:pt idx="3">
                  <c:v>4934.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439.68</a:t>
                    </a:r>
                  </a:p>
                </c:rich>
              </c:tx>
              <c:dLblPos val="l"/>
              <c:showLegendKey val="0"/>
              <c:showVal val="1"/>
              <c:showCatName val="0"/>
              <c:showSerName val="0"/>
              <c:showPercent val="0"/>
              <c:showBubbleSize val="0"/>
            </c:dLbl>
            <c:dLbl>
              <c:idx val="1"/>
              <c:tx>
                <c:rich>
                  <a:bodyPr/>
                  <a:lstStyle/>
                  <a:p>
                    <a:r>
                      <a:t>IX 100</a:t>
                    </a:r>
                  </a:p>
                  <a:p>
                    <a:r>
                      <a:t>1165.55</a:t>
                    </a:r>
                  </a:p>
                </c:rich>
              </c:tx>
              <c:dLblPos val="l"/>
              <c:showLegendKey val="0"/>
              <c:showVal val="1"/>
              <c:showCatName val="0"/>
              <c:showSerName val="0"/>
              <c:showPercent val="0"/>
              <c:showBubbleSize val="0"/>
            </c:dLbl>
            <c:dLbl>
              <c:idx val="2"/>
              <c:tx>
                <c:rich>
                  <a:bodyPr/>
                  <a:lstStyle/>
                  <a:p>
                    <a:r>
                      <a:t>IX 100</a:t>
                    </a:r>
                  </a:p>
                  <a:p>
                    <a:r>
                      <a:t>572.21</a:t>
                    </a:r>
                  </a:p>
                </c:rich>
              </c:tx>
              <c:dLblPos val="l"/>
              <c:showLegendKey val="0"/>
              <c:showVal val="1"/>
              <c:showCatName val="0"/>
              <c:showSerName val="0"/>
              <c:showPercent val="0"/>
              <c:showBubbleSize val="0"/>
            </c:dLbl>
            <c:dLbl>
              <c:idx val="3"/>
              <c:tx>
                <c:rich>
                  <a:bodyPr/>
                  <a:lstStyle/>
                  <a:p>
                    <a:r>
                      <a:t>IX 40</a:t>
                    </a:r>
                  </a:p>
                  <a:p>
                    <a:r>
                      <a:t>1559.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40</c:v>
                </c:pt>
              </c:strCache>
            </c:strRef>
          </c:cat>
          <c:val>
            <c:numRef>
              <c:f>Sheet1!$C$2:$C$5</c:f>
              <c:numCache>
                <c:formatCode>General</c:formatCode>
                <c:ptCount val="4"/>
                <c:pt idx="0">
                  <c:v>1439.68</c:v>
                </c:pt>
                <c:pt idx="1">
                  <c:v>1165.55</c:v>
                </c:pt>
                <c:pt idx="2">
                  <c:v>572.21</c:v>
                </c:pt>
                <c:pt idx="3">
                  <c:v>1559.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40</c:v>
                </c:pt>
              </c:strCache>
            </c:strRef>
          </c:cat>
          <c:val>
            <c:numRef>
              <c:f>Sheet1!$D$2:$D$5</c:f>
              <c:numCache>
                <c:formatCode>General</c:formatCode>
                <c:ptCount val="4"/>
                <c:pt idx="0">
                  <c:v>2005.67</c:v>
                </c:pt>
                <c:pt idx="1">
                  <c:v>1379.59</c:v>
                </c:pt>
                <c:pt idx="2">
                  <c:v>588.75</c:v>
                </c:pt>
                <c:pt idx="3">
                  <c:v>6499.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40</c:v>
                </c:pt>
              </c:strCache>
            </c:strRef>
          </c:cat>
          <c:val>
            <c:numRef>
              <c:f>Sheet1!$E$2:$E$5</c:f>
              <c:numCache>
                <c:formatCode>General</c:formatCode>
                <c:ptCount val="4"/>
                <c:pt idx="0">
                  <c:v>7433.16</c:v>
                </c:pt>
                <c:pt idx="3">
                  <c:v>1100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laxosmithkli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100</c:v>
                </c:pt>
                <c:pt idx="2">
                  <c:v>IX 100</c:v>
                </c:pt>
                <c:pt idx="3">
                  <c:v>IX 40</c:v>
                </c:pt>
              </c:strCache>
            </c:strRef>
          </c:cat>
          <c:val>
            <c:numRef>
              <c:f>Sheet1!$F$2:$F$5</c:f>
              <c:numCache>
                <c:formatCode>General</c:formatCode>
                <c:ptCount val="4"/>
                <c:pt idx="0">
                  <c:v>4414.83</c:v>
                </c:pt>
                <c:pt idx="3">
                  <c:v>3851.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005.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1</c:v>
                </c:pt>
                <c:pt idx="2">
                  <c:v/>
                </c:pt>
                <c:pt idx="3">
                  <c:v>IX 179</c:v>
                </c:pt>
                <c:pt idx="4">
                  <c:v/>
                </c:pt>
              </c:strCache>
            </c:strRef>
          </c:cat>
          <c:val>
            <c:numRef>
              <c:f>Sheet1!$B$2:$B$6</c:f>
              <c:numCache>
                <c:formatCode>General</c:formatCode>
                <c:ptCount val="5"/>
                <c:pt idx="0">
                  <c:v>771.99</c:v>
                </c:pt>
                <c:pt idx="1">
                  <c:v>1491.26</c:v>
                </c:pt>
                <c:pt idx="2">
                  <c:v>1884.37</c:v>
                </c:pt>
                <c:pt idx="3">
                  <c:v>1775.11</c:v>
                </c:pt>
                <c:pt idx="4">
                  <c:v>37176.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34.96</a:t>
                    </a:r>
                  </a:p>
                </c:rich>
              </c:tx>
              <c:dLblPos val="l"/>
              <c:showLegendKey val="0"/>
              <c:showVal val="1"/>
              <c:showCatName val="0"/>
              <c:showSerName val="0"/>
              <c:showPercent val="0"/>
              <c:showBubbleSize val="0"/>
            </c:dLbl>
            <c:dLbl>
              <c:idx val="1"/>
              <c:tx>
                <c:rich>
                  <a:bodyPr/>
                  <a:lstStyle/>
                  <a:p>
                    <a:r>
                      <a:t>IX 101</a:t>
                    </a:r>
                  </a:p>
                  <a:p>
                    <a:r>
                      <a:t>1457.8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79</a:t>
                    </a:r>
                  </a:p>
                  <a:p>
                    <a:r>
                      <a:t>3138.4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1</c:v>
                </c:pt>
                <c:pt idx="2">
                  <c:v/>
                </c:pt>
                <c:pt idx="3">
                  <c:v>IX 179</c:v>
                </c:pt>
                <c:pt idx="4">
                  <c:v/>
                </c:pt>
              </c:strCache>
            </c:strRef>
          </c:cat>
          <c:val>
            <c:numRef>
              <c:f>Sheet1!$C$2:$C$6</c:f>
              <c:numCache>
                <c:formatCode>General</c:formatCode>
                <c:ptCount val="5"/>
                <c:pt idx="0">
                  <c:v>1334.96</c:v>
                </c:pt>
                <c:pt idx="1">
                  <c:v>1457.87</c:v>
                </c:pt>
                <c:pt idx="3">
                  <c:v>3138.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1</c:v>
                </c:pt>
                <c:pt idx="2">
                  <c:v/>
                </c:pt>
                <c:pt idx="3">
                  <c:v>IX 179</c:v>
                </c:pt>
                <c:pt idx="4">
                  <c:v/>
                </c:pt>
              </c:strCache>
            </c:strRef>
          </c:cat>
          <c:val>
            <c:numRef>
              <c:f>Sheet1!$D$2:$D$6</c:f>
              <c:numCache>
                <c:formatCode>General</c:formatCode>
                <c:ptCount val="5"/>
                <c:pt idx="1">
                  <c:v>1445.91</c:v>
                </c:pt>
                <c:pt idx="2">
                  <c:v>1881.34</c:v>
                </c:pt>
                <c:pt idx="3">
                  <c:v>1756.3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1</c:v>
                </c:pt>
                <c:pt idx="2">
                  <c:v/>
                </c:pt>
                <c:pt idx="3">
                  <c:v>IX 179</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1</c:v>
                </c:pt>
                <c:pt idx="2">
                  <c:v/>
                </c:pt>
                <c:pt idx="3">
                  <c:v>IX 179</c:v>
                </c:pt>
                <c:pt idx="4">
                  <c:v/>
                </c:pt>
              </c:strCache>
            </c:strRef>
          </c:cat>
          <c:val>
            <c:numRef>
              <c:f>Sheet1!$F$2:$F$6</c:f>
              <c:numCache>
                <c:formatCode>General</c:formatCode>
                <c:ptCount val="5"/>
                <c:pt idx="1">
                  <c:v>2616.6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176.9"/>
          <c:min val="771.48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IX 97</c:v>
                </c:pt>
                <c:pt idx="4">
                  <c:v/>
                </c:pt>
              </c:strCache>
            </c:strRef>
          </c:cat>
          <c:val>
            <c:numRef>
              <c:f>Sheet1!$B$2:$B$6</c:f>
              <c:numCache>
                <c:formatCode>General</c:formatCode>
                <c:ptCount val="5"/>
                <c:pt idx="0">
                  <c:v>2053.17</c:v>
                </c:pt>
                <c:pt idx="1">
                  <c:v>1585.27</c:v>
                </c:pt>
                <c:pt idx="2">
                  <c:v>1996.59</c:v>
                </c:pt>
                <c:pt idx="3">
                  <c:v>1628.44</c:v>
                </c:pt>
                <c:pt idx="4">
                  <c:v>11170.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299.67</a:t>
                    </a:r>
                  </a:p>
                </c:rich>
              </c:tx>
              <c:dLblPos val="l"/>
              <c:showLegendKey val="0"/>
              <c:showVal val="1"/>
              <c:showCatName val="0"/>
              <c:showSerName val="0"/>
              <c:showPercent val="0"/>
              <c:showBubbleSize val="0"/>
            </c:dLbl>
            <c:dLbl>
              <c:idx val="1"/>
              <c:tx>
                <c:rich>
                  <a:bodyPr/>
                  <a:lstStyle/>
                  <a:p>
                    <a:r>
                      <a:t>IX 100</a:t>
                    </a:r>
                  </a:p>
                  <a:p>
                    <a:r>
                      <a:t>1381.4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97</a:t>
                    </a:r>
                  </a:p>
                  <a:p>
                    <a:r>
                      <a:t>1645.7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IX 97</c:v>
                </c:pt>
                <c:pt idx="4">
                  <c:v/>
                </c:pt>
              </c:strCache>
            </c:strRef>
          </c:cat>
          <c:val>
            <c:numRef>
              <c:f>Sheet1!$C$2:$C$6</c:f>
              <c:numCache>
                <c:formatCode>General</c:formatCode>
                <c:ptCount val="5"/>
                <c:pt idx="0">
                  <c:v>1299.67</c:v>
                </c:pt>
                <c:pt idx="1">
                  <c:v>1381.41</c:v>
                </c:pt>
                <c:pt idx="3">
                  <c:v>1645.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IX 97</c:v>
                </c:pt>
                <c:pt idx="4">
                  <c:v/>
                </c:pt>
              </c:strCache>
            </c:strRef>
          </c:cat>
          <c:val>
            <c:numRef>
              <c:f>Sheet1!$D$2:$D$6</c:f>
              <c:numCache>
                <c:formatCode>General</c:formatCode>
                <c:ptCount val="5"/>
                <c:pt idx="0">
                  <c:v>2729.06</c:v>
                </c:pt>
                <c:pt idx="1">
                  <c:v>1497.5</c:v>
                </c:pt>
                <c:pt idx="2">
                  <c:v>1511.59</c:v>
                </c:pt>
                <c:pt idx="3">
                  <c:v>1704.53</c:v>
                </c:pt>
                <c:pt idx="4">
                  <c:v>7767.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IX 97</c:v>
                </c:pt>
                <c:pt idx="4">
                  <c:v/>
                </c:pt>
              </c:strCache>
            </c:strRef>
          </c:cat>
          <c:val>
            <c:numRef>
              <c:f>Sheet1!$E$2:$E$6</c:f>
              <c:numCache>
                <c:formatCode>General</c:formatCode>
                <c:ptCount val="5"/>
                <c:pt idx="0">
                  <c:v>12625.16</c:v>
                </c:pt>
                <c:pt idx="1">
                  <c:v>12108.5</c:v>
                </c:pt>
                <c:pt idx="2">
                  <c:v>2561.55</c:v>
                </c:pt>
                <c:pt idx="3">
                  <c:v>5972.38</c:v>
                </c:pt>
                <c:pt idx="4">
                  <c:v>12896.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
                </c:pt>
                <c:pt idx="3">
                  <c:v>IX 97</c:v>
                </c:pt>
                <c:pt idx="4">
                  <c:v/>
                </c:pt>
              </c:strCache>
            </c:strRef>
          </c:cat>
          <c:val>
            <c:numRef>
              <c:f>Sheet1!$F$2:$F$6</c:f>
              <c:numCache>
                <c:formatCode>General</c:formatCode>
                <c:ptCount val="5"/>
                <c:pt idx="0">
                  <c:v>587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897.2763"/>
          <c:min val="1299.16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3</c:v>
                </c:pt>
                <c:pt idx="2">
                  <c:v/>
                </c:pt>
                <c:pt idx="3">
                  <c:v>IX 77</c:v>
                </c:pt>
                <c:pt idx="4">
                  <c:v>IX 45</c:v>
                </c:pt>
              </c:strCache>
            </c:strRef>
          </c:cat>
          <c:val>
            <c:numRef>
              <c:f>Sheet1!$B$2:$B$6</c:f>
              <c:numCache>
                <c:formatCode>General</c:formatCode>
                <c:ptCount val="5"/>
                <c:pt idx="0">
                  <c:v>2053.17</c:v>
                </c:pt>
                <c:pt idx="1">
                  <c:v>1585.27</c:v>
                </c:pt>
                <c:pt idx="2">
                  <c:v>1996.59</c:v>
                </c:pt>
                <c:pt idx="3">
                  <c:v>1628.44</c:v>
                </c:pt>
                <c:pt idx="4">
                  <c:v>11170.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202.87</a:t>
                    </a:r>
                  </a:p>
                </c:rich>
              </c:tx>
              <c:dLblPos val="l"/>
              <c:showLegendKey val="0"/>
              <c:showVal val="1"/>
              <c:showCatName val="0"/>
              <c:showSerName val="0"/>
              <c:showPercent val="0"/>
              <c:showBubbleSize val="0"/>
            </c:dLbl>
            <c:dLbl>
              <c:idx val="1"/>
              <c:tx>
                <c:rich>
                  <a:bodyPr/>
                  <a:lstStyle/>
                  <a:p>
                    <a:r>
                      <a:t>IX 83</a:t>
                    </a:r>
                  </a:p>
                  <a:p>
                    <a:r>
                      <a:t>1248.5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77</a:t>
                    </a:r>
                  </a:p>
                  <a:p>
                    <a:r>
                      <a:t>1305.97</a:t>
                    </a:r>
                  </a:p>
                </c:rich>
              </c:tx>
              <c:dLblPos val="l"/>
              <c:showLegendKey val="0"/>
              <c:showVal val="1"/>
              <c:showCatName val="0"/>
              <c:showSerName val="0"/>
              <c:showPercent val="0"/>
              <c:showBubbleSize val="0"/>
            </c:dLbl>
            <c:dLbl>
              <c:idx val="4"/>
              <c:tx>
                <c:rich>
                  <a:bodyPr/>
                  <a:lstStyle/>
                  <a:p>
                    <a:r>
                      <a:t>IX 45</a:t>
                    </a:r>
                  </a:p>
                  <a:p>
                    <a:r>
                      <a:t>5781.8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3</c:v>
                </c:pt>
                <c:pt idx="2">
                  <c:v/>
                </c:pt>
                <c:pt idx="3">
                  <c:v>IX 77</c:v>
                </c:pt>
                <c:pt idx="4">
                  <c:v>IX 45</c:v>
                </c:pt>
              </c:strCache>
            </c:strRef>
          </c:cat>
          <c:val>
            <c:numRef>
              <c:f>Sheet1!$C$2:$C$6</c:f>
              <c:numCache>
                <c:formatCode>General</c:formatCode>
                <c:ptCount val="5"/>
                <c:pt idx="0">
                  <c:v>1202.87</c:v>
                </c:pt>
                <c:pt idx="1">
                  <c:v>1248.58</c:v>
                </c:pt>
                <c:pt idx="3">
                  <c:v>1305.97</c:v>
                </c:pt>
                <c:pt idx="4">
                  <c:v>5781.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3</c:v>
                </c:pt>
                <c:pt idx="2">
                  <c:v/>
                </c:pt>
                <c:pt idx="3">
                  <c:v>IX 77</c:v>
                </c:pt>
                <c:pt idx="4">
                  <c:v>IX 45</c:v>
                </c:pt>
              </c:strCache>
            </c:strRef>
          </c:cat>
          <c:val>
            <c:numRef>
              <c:f>Sheet1!$D$2:$D$6</c:f>
              <c:numCache>
                <c:formatCode>General</c:formatCode>
                <c:ptCount val="5"/>
                <c:pt idx="0">
                  <c:v>2729.06</c:v>
                </c:pt>
                <c:pt idx="1">
                  <c:v>1497.5</c:v>
                </c:pt>
                <c:pt idx="2">
                  <c:v>1511.59</c:v>
                </c:pt>
                <c:pt idx="3">
                  <c:v>1704.53</c:v>
                </c:pt>
                <c:pt idx="4">
                  <c:v>7767.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3</c:v>
                </c:pt>
                <c:pt idx="2">
                  <c:v/>
                </c:pt>
                <c:pt idx="3">
                  <c:v>IX 77</c:v>
                </c:pt>
                <c:pt idx="4">
                  <c:v>IX 45</c:v>
                </c:pt>
              </c:strCache>
            </c:strRef>
          </c:cat>
          <c:val>
            <c:numRef>
              <c:f>Sheet1!$E$2:$E$6</c:f>
              <c:numCache>
                <c:formatCode>General</c:formatCode>
                <c:ptCount val="5"/>
                <c:pt idx="0">
                  <c:v>12625.16</c:v>
                </c:pt>
                <c:pt idx="1">
                  <c:v>12108.5</c:v>
                </c:pt>
                <c:pt idx="2">
                  <c:v>2561.55</c:v>
                </c:pt>
                <c:pt idx="3">
                  <c:v>5972.38</c:v>
                </c:pt>
                <c:pt idx="4">
                  <c:v>12896.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3</c:v>
                </c:pt>
                <c:pt idx="2">
                  <c:v/>
                </c:pt>
                <c:pt idx="3">
                  <c:v>IX 77</c:v>
                </c:pt>
                <c:pt idx="4">
                  <c:v>IX 45</c:v>
                </c:pt>
              </c:strCache>
            </c:strRef>
          </c:cat>
          <c:val>
            <c:numRef>
              <c:f>Sheet1!$F$2:$F$6</c:f>
              <c:numCache>
                <c:formatCode>General</c:formatCode>
                <c:ptCount val="5"/>
                <c:pt idx="0">
                  <c:v>587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897.2763"/>
          <c:min val="1202.37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7</c:v>
                </c:pt>
                <c:pt idx="2">
                  <c:v/>
                </c:pt>
                <c:pt idx="3">
                  <c:v/>
                </c:pt>
                <c:pt idx="4">
                  <c:v/>
                </c:pt>
              </c:strCache>
            </c:strRef>
          </c:cat>
          <c:val>
            <c:numRef>
              <c:f>Sheet1!$B$2:$B$6</c:f>
              <c:numCache>
                <c:formatCode>General</c:formatCode>
                <c:ptCount val="5"/>
                <c:pt idx="0">
                  <c:v>2053.17</c:v>
                </c:pt>
                <c:pt idx="1">
                  <c:v>1585.27</c:v>
                </c:pt>
                <c:pt idx="2">
                  <c:v>1996.59</c:v>
                </c:pt>
                <c:pt idx="3">
                  <c:v>1628.44</c:v>
                </c:pt>
                <c:pt idx="4">
                  <c:v>11170.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37</a:t>
                    </a:r>
                  </a:p>
                  <a:p>
                    <a:r>
                      <a:t>5051.5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7</c:v>
                </c:pt>
                <c:pt idx="2">
                  <c:v/>
                </c:pt>
                <c:pt idx="3">
                  <c:v/>
                </c:pt>
                <c:pt idx="4">
                  <c:v/>
                </c:pt>
              </c:strCache>
            </c:strRef>
          </c:cat>
          <c:val>
            <c:numRef>
              <c:f>Sheet1!$C$2:$C$6</c:f>
              <c:numCache>
                <c:formatCode>General</c:formatCode>
                <c:ptCount val="5"/>
                <c:pt idx="1">
                  <c:v>5051.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7</c:v>
                </c:pt>
                <c:pt idx="2">
                  <c:v/>
                </c:pt>
                <c:pt idx="3">
                  <c:v/>
                </c:pt>
                <c:pt idx="4">
                  <c:v/>
                </c:pt>
              </c:strCache>
            </c:strRef>
          </c:cat>
          <c:val>
            <c:numRef>
              <c:f>Sheet1!$D$2:$D$6</c:f>
              <c:numCache>
                <c:formatCode>General</c:formatCode>
                <c:ptCount val="5"/>
                <c:pt idx="0">
                  <c:v>2729.06</c:v>
                </c:pt>
                <c:pt idx="1">
                  <c:v>1497.5</c:v>
                </c:pt>
                <c:pt idx="2">
                  <c:v>1511.59</c:v>
                </c:pt>
                <c:pt idx="3">
                  <c:v>1704.53</c:v>
                </c:pt>
                <c:pt idx="4">
                  <c:v>7767.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7</c:v>
                </c:pt>
                <c:pt idx="2">
                  <c:v/>
                </c:pt>
                <c:pt idx="3">
                  <c:v/>
                </c:pt>
                <c:pt idx="4">
                  <c:v/>
                </c:pt>
              </c:strCache>
            </c:strRef>
          </c:cat>
          <c:val>
            <c:numRef>
              <c:f>Sheet1!$E$2:$E$6</c:f>
              <c:numCache>
                <c:formatCode>General</c:formatCode>
                <c:ptCount val="5"/>
                <c:pt idx="0">
                  <c:v>12625.16</c:v>
                </c:pt>
                <c:pt idx="1">
                  <c:v>12108.5</c:v>
                </c:pt>
                <c:pt idx="2">
                  <c:v>2561.55</c:v>
                </c:pt>
                <c:pt idx="3">
                  <c:v>5972.38</c:v>
                </c:pt>
                <c:pt idx="4">
                  <c:v>12896.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7</c:v>
                </c:pt>
                <c:pt idx="2">
                  <c:v/>
                </c:pt>
                <c:pt idx="3">
                  <c:v/>
                </c:pt>
                <c:pt idx="4">
                  <c:v/>
                </c:pt>
              </c:strCache>
            </c:strRef>
          </c:cat>
          <c:val>
            <c:numRef>
              <c:f>Sheet1!$F$2:$F$6</c:f>
              <c:numCache>
                <c:formatCode>General</c:formatCode>
                <c:ptCount val="5"/>
                <c:pt idx="0">
                  <c:v>587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897.2763"/>
          <c:min val="1496.995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11151.36</c:v>
                </c:pt>
                <c:pt idx="1">
                  <c:v>1708.18</c:v>
                </c:pt>
                <c:pt idx="2">
                  <c:v>18163.38</c:v>
                </c:pt>
                <c:pt idx="3">
                  <c:v>3625.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397.3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1397.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11151.3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E$2:$E$5</c:f>
              <c:numCache>
                <c:formatCode>General</c:formatCode>
                <c:ptCount val="4"/>
                <c:pt idx="2">
                  <c:v>18163.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396.8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0">
                  <c:v>11151.36</c:v>
                </c:pt>
                <c:pt idx="1">
                  <c:v>1708.18</c:v>
                </c:pt>
                <c:pt idx="2">
                  <c:v>18163.38</c:v>
                </c:pt>
                <c:pt idx="3">
                  <c:v>3625.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625.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362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pt idx="0">
                  <c:v>11151.3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pt idx="2">
                  <c:v>18163.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707.6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
                </c:pt>
                <c:pt idx="2">
                  <c:v/>
                </c:pt>
                <c:pt idx="3">
                  <c:v/>
                </c:pt>
                <c:pt idx="4">
                  <c:v/>
                </c:pt>
              </c:strCache>
            </c:strRef>
          </c:cat>
          <c:val>
            <c:numRef>
              <c:f>Sheet1!$B$2:$B$6</c:f>
              <c:numCache>
                <c:formatCode>General</c:formatCode>
                <c:ptCount val="5"/>
                <c:pt idx="0">
                  <c:v>1502.41</c:v>
                </c:pt>
                <c:pt idx="1">
                  <c:v>736.2</c:v>
                </c:pt>
                <c:pt idx="2">
                  <c:v>1964.35</c:v>
                </c:pt>
                <c:pt idx="3">
                  <c:v>1796.1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79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
                </c:pt>
                <c:pt idx="2">
                  <c:v/>
                </c:pt>
                <c:pt idx="3">
                  <c:v/>
                </c:pt>
                <c:pt idx="4">
                  <c:v/>
                </c:pt>
              </c:strCache>
            </c:strRef>
          </c:cat>
          <c:val>
            <c:numRef>
              <c:f>Sheet1!$C$2:$C$6</c:f>
              <c:numCache>
                <c:formatCode>General</c:formatCode>
                <c:ptCount val="5"/>
                <c:pt idx="0">
                  <c:v>79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
                </c:pt>
                <c:pt idx="2">
                  <c:v/>
                </c:pt>
                <c:pt idx="3">
                  <c:v/>
                </c:pt>
                <c:pt idx="4">
                  <c:v/>
                </c:pt>
              </c:strCache>
            </c:strRef>
          </c:cat>
          <c:val>
            <c:numRef>
              <c:f>Sheet1!$D$2:$D$6</c:f>
              <c:numCache>
                <c:formatCode>General</c:formatCode>
                <c:ptCount val="5"/>
                <c:pt idx="0">
                  <c:v>1478.98</c:v>
                </c:pt>
                <c:pt idx="2">
                  <c:v>1961.91</c:v>
                </c:pt>
                <c:pt idx="3">
                  <c:v>1793.2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
                </c:pt>
                <c:pt idx="2">
                  <c:v/>
                </c:pt>
                <c:pt idx="3">
                  <c:v/>
                </c:pt>
                <c:pt idx="4">
                  <c:v/>
                </c:pt>
              </c:strCache>
            </c:strRef>
          </c:cat>
          <c:val>
            <c:numRef>
              <c:f>Sheet1!$E$2:$E$6</c:f>
              <c:numCache>
                <c:formatCode>General</c:formatCode>
                <c:ptCount val="5"/>
                <c:pt idx="0">
                  <c:v>2445.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4</c:v>
                </c:pt>
                <c:pt idx="1">
                  <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45.84"/>
          <c:min val="735.6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7</c:v>
                </c:pt>
                <c:pt idx="1">
                  <c:v>IX 100</c:v>
                </c:pt>
                <c:pt idx="2">
                  <c:v/>
                </c:pt>
                <c:pt idx="3">
                  <c:v>IX 107</c:v>
                </c:pt>
                <c:pt idx="4">
                  <c:v/>
                </c:pt>
              </c:strCache>
            </c:strRef>
          </c:cat>
          <c:val>
            <c:numRef>
              <c:f>Sheet1!$B$2:$B$6</c:f>
              <c:numCache>
                <c:formatCode>General</c:formatCode>
                <c:ptCount val="5"/>
                <c:pt idx="0">
                  <c:v>1502.41</c:v>
                </c:pt>
                <c:pt idx="1">
                  <c:v>736.2</c:v>
                </c:pt>
                <c:pt idx="2">
                  <c:v>1964.35</c:v>
                </c:pt>
                <c:pt idx="3">
                  <c:v>1796.1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7</a:t>
                    </a:r>
                  </a:p>
                  <a:p>
                    <a:r>
                      <a:t>1131.95</a:t>
                    </a:r>
                  </a:p>
                </c:rich>
              </c:tx>
              <c:dLblPos val="l"/>
              <c:showLegendKey val="0"/>
              <c:showVal val="1"/>
              <c:showCatName val="0"/>
              <c:showSerName val="0"/>
              <c:showPercent val="0"/>
              <c:showBubbleSize val="0"/>
            </c:dLbl>
            <c:dLbl>
              <c:idx val="1"/>
              <c:tx>
                <c:rich>
                  <a:bodyPr/>
                  <a:lstStyle/>
                  <a:p>
                    <a:r>
                      <a:t>IX 100</a:t>
                    </a:r>
                  </a:p>
                  <a:p>
                    <a:r>
                      <a:t>1339.9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7</a:t>
                    </a:r>
                  </a:p>
                  <a:p>
                    <a:r>
                      <a:t>1916.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7</c:v>
                </c:pt>
                <c:pt idx="1">
                  <c:v>IX 100</c:v>
                </c:pt>
                <c:pt idx="2">
                  <c:v/>
                </c:pt>
                <c:pt idx="3">
                  <c:v>IX 107</c:v>
                </c:pt>
                <c:pt idx="4">
                  <c:v/>
                </c:pt>
              </c:strCache>
            </c:strRef>
          </c:cat>
          <c:val>
            <c:numRef>
              <c:f>Sheet1!$C$2:$C$6</c:f>
              <c:numCache>
                <c:formatCode>General</c:formatCode>
                <c:ptCount val="5"/>
                <c:pt idx="0">
                  <c:v>1131.95</c:v>
                </c:pt>
                <c:pt idx="1">
                  <c:v>1339.92</c:v>
                </c:pt>
                <c:pt idx="3">
                  <c:v>1916.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7</c:v>
                </c:pt>
                <c:pt idx="1">
                  <c:v>IX 100</c:v>
                </c:pt>
                <c:pt idx="2">
                  <c:v/>
                </c:pt>
                <c:pt idx="3">
                  <c:v>IX 107</c:v>
                </c:pt>
                <c:pt idx="4">
                  <c:v/>
                </c:pt>
              </c:strCache>
            </c:strRef>
          </c:cat>
          <c:val>
            <c:numRef>
              <c:f>Sheet1!$D$2:$D$6</c:f>
              <c:numCache>
                <c:formatCode>General</c:formatCode>
                <c:ptCount val="5"/>
                <c:pt idx="0">
                  <c:v>1478.98</c:v>
                </c:pt>
                <c:pt idx="2">
                  <c:v>1961.91</c:v>
                </c:pt>
                <c:pt idx="3">
                  <c:v>1793.2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7</c:v>
                </c:pt>
                <c:pt idx="1">
                  <c:v>IX 100</c:v>
                </c:pt>
                <c:pt idx="2">
                  <c:v/>
                </c:pt>
                <c:pt idx="3">
                  <c:v>IX 107</c:v>
                </c:pt>
                <c:pt idx="4">
                  <c:v/>
                </c:pt>
              </c:strCache>
            </c:strRef>
          </c:cat>
          <c:val>
            <c:numRef>
              <c:f>Sheet1!$E$2:$E$6</c:f>
              <c:numCache>
                <c:formatCode>General</c:formatCode>
                <c:ptCount val="5"/>
                <c:pt idx="0">
                  <c:v>2445.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77</c:v>
                </c:pt>
                <c:pt idx="1">
                  <c:v>IX 100</c:v>
                </c:pt>
                <c:pt idx="2">
                  <c:v/>
                </c:pt>
                <c:pt idx="3">
                  <c:v>IX 107</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45.84"/>
          <c:min val="735.6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
                </c:pt>
                <c:pt idx="4">
                  <c:v>IX 100</c:v>
                </c:pt>
              </c:strCache>
            </c:strRef>
          </c:cat>
          <c:val>
            <c:numRef>
              <c:f>Sheet1!$B$2:$B$6</c:f>
              <c:numCache>
                <c:formatCode>General</c:formatCode>
                <c:ptCount val="5"/>
                <c:pt idx="0">
                  <c:v>2492.7</c:v>
                </c:pt>
                <c:pt idx="1">
                  <c:v>1510.75</c:v>
                </c:pt>
                <c:pt idx="2">
                  <c:v>2450.94</c:v>
                </c:pt>
                <c:pt idx="3">
                  <c:v>11872.52</c:v>
                </c:pt>
                <c:pt idx="4">
                  <c:v>1679.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6</a:t>
                    </a:r>
                  </a:p>
                  <a:p>
                    <a:r>
                      <a:t>1252.28</a:t>
                    </a:r>
                  </a:p>
                </c:rich>
              </c:tx>
              <c:dLblPos val="l"/>
              <c:showLegendKey val="0"/>
              <c:showVal val="1"/>
              <c:showCatName val="0"/>
              <c:showSerName val="0"/>
              <c:showPercent val="0"/>
              <c:showBubbleSize val="0"/>
            </c:dLbl>
            <c:dLbl>
              <c:idx val="1"/>
              <c:tx>
                <c:rich>
                  <a:bodyPr/>
                  <a:lstStyle/>
                  <a:p>
                    <a:r>
                      <a:t>IX 100</a:t>
                    </a:r>
                  </a:p>
                  <a:p>
                    <a:r>
                      <a:t>1268.0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521.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
                </c:pt>
                <c:pt idx="4">
                  <c:v>IX 100</c:v>
                </c:pt>
              </c:strCache>
            </c:strRef>
          </c:cat>
          <c:val>
            <c:numRef>
              <c:f>Sheet1!$C$2:$C$6</c:f>
              <c:numCache>
                <c:formatCode>General</c:formatCode>
                <c:ptCount val="5"/>
                <c:pt idx="0">
                  <c:v>1252.28</c:v>
                </c:pt>
                <c:pt idx="1">
                  <c:v>1268.09</c:v>
                </c:pt>
                <c:pt idx="4">
                  <c:v>1521.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
                </c:pt>
                <c:pt idx="4">
                  <c:v>IX 100</c:v>
                </c:pt>
              </c:strCache>
            </c:strRef>
          </c:cat>
          <c:val>
            <c:numRef>
              <c:f>Sheet1!$D$2:$D$6</c:f>
              <c:numCache>
                <c:formatCode>General</c:formatCode>
                <c:ptCount val="5"/>
                <c:pt idx="0">
                  <c:v>2745.4</c:v>
                </c:pt>
                <c:pt idx="1">
                  <c:v>1410.25</c:v>
                </c:pt>
                <c:pt idx="2">
                  <c:v>1458.48</c:v>
                </c:pt>
                <c:pt idx="3">
                  <c:v>7517.22</c:v>
                </c:pt>
                <c:pt idx="4">
                  <c:v>165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
                </c:pt>
                <c:pt idx="4">
                  <c:v>IX 100</c:v>
                </c:pt>
              </c:strCache>
            </c:strRef>
          </c:cat>
          <c:val>
            <c:numRef>
              <c:f>Sheet1!$E$2:$E$6</c:f>
              <c:numCache>
                <c:formatCode>General</c:formatCode>
                <c:ptCount val="5"/>
                <c:pt idx="0">
                  <c:v>12603.47</c:v>
                </c:pt>
                <c:pt idx="1">
                  <c:v>15090.77</c:v>
                </c:pt>
                <c:pt idx="2">
                  <c:v>2760.48</c:v>
                </c:pt>
                <c:pt idx="3">
                  <c:v>12397.29</c:v>
                </c:pt>
                <c:pt idx="4">
                  <c:v>6309.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6</c:v>
                </c:pt>
                <c:pt idx="1">
                  <c:v>IX 100</c:v>
                </c:pt>
                <c:pt idx="2">
                  <c:v/>
                </c:pt>
                <c:pt idx="3">
                  <c:v/>
                </c:pt>
                <c:pt idx="4">
                  <c:v>IX 100</c:v>
                </c:pt>
              </c:strCache>
            </c:strRef>
          </c:cat>
          <c:val>
            <c:numRef>
              <c:f>Sheet1!$F$2:$F$6</c:f>
              <c:numCache>
                <c:formatCode>General</c:formatCode>
                <c:ptCount val="5"/>
                <c:pt idx="0">
                  <c:v>13100.88</c:v>
                </c:pt>
                <c:pt idx="1">
                  <c:v>11689.27</c:v>
                </c:pt>
                <c:pt idx="2">
                  <c:v>12513.38</c:v>
                </c:pt>
                <c:pt idx="3">
                  <c:v>12247.8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091.2667"/>
          <c:min val="1251.781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1</c:v>
                </c:pt>
                <c:pt idx="2">
                  <c:v/>
                </c:pt>
                <c:pt idx="3">
                  <c:v>IX 49</c:v>
                </c:pt>
                <c:pt idx="4">
                  <c:v>IX 100</c:v>
                </c:pt>
              </c:strCache>
            </c:strRef>
          </c:cat>
          <c:val>
            <c:numRef>
              <c:f>Sheet1!$B$2:$B$6</c:f>
              <c:numCache>
                <c:formatCode>General</c:formatCode>
                <c:ptCount val="5"/>
                <c:pt idx="0">
                  <c:v>2492.7</c:v>
                </c:pt>
                <c:pt idx="1">
                  <c:v>1510.75</c:v>
                </c:pt>
                <c:pt idx="2">
                  <c:v>2450.94</c:v>
                </c:pt>
                <c:pt idx="3">
                  <c:v>11872.52</c:v>
                </c:pt>
                <c:pt idx="4">
                  <c:v>1679.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1</a:t>
                    </a:r>
                  </a:p>
                  <a:p>
                    <a:r>
                      <a:t>1130.55</a:t>
                    </a:r>
                  </a:p>
                </c:rich>
              </c:tx>
              <c:dLblPos val="l"/>
              <c:showLegendKey val="0"/>
              <c:showVal val="1"/>
              <c:showCatName val="0"/>
              <c:showSerName val="0"/>
              <c:showPercent val="0"/>
              <c:showBubbleSize val="0"/>
            </c:dLbl>
            <c:dLbl>
              <c:idx val="1"/>
              <c:tx>
                <c:rich>
                  <a:bodyPr/>
                  <a:lstStyle/>
                  <a:p>
                    <a:r>
                      <a:t>IX 91</a:t>
                    </a:r>
                  </a:p>
                  <a:p>
                    <a:r>
                      <a:t>1278.4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49</a:t>
                    </a:r>
                  </a:p>
                  <a:p>
                    <a:r>
                      <a:t>5963.5</a:t>
                    </a:r>
                  </a:p>
                </c:rich>
              </c:tx>
              <c:dLblPos val="l"/>
              <c:showLegendKey val="0"/>
              <c:showVal val="1"/>
              <c:showCatName val="0"/>
              <c:showSerName val="0"/>
              <c:showPercent val="0"/>
              <c:showBubbleSize val="0"/>
            </c:dLbl>
            <c:dLbl>
              <c:idx val="4"/>
              <c:tx>
                <c:rich>
                  <a:bodyPr/>
                  <a:lstStyle/>
                  <a:p>
                    <a:r>
                      <a:t>IX 100</a:t>
                    </a:r>
                  </a:p>
                  <a:p>
                    <a:r>
                      <a:t>1376.0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1</c:v>
                </c:pt>
                <c:pt idx="2">
                  <c:v/>
                </c:pt>
                <c:pt idx="3">
                  <c:v>IX 49</c:v>
                </c:pt>
                <c:pt idx="4">
                  <c:v>IX 100</c:v>
                </c:pt>
              </c:strCache>
            </c:strRef>
          </c:cat>
          <c:val>
            <c:numRef>
              <c:f>Sheet1!$C$2:$C$6</c:f>
              <c:numCache>
                <c:formatCode>General</c:formatCode>
                <c:ptCount val="5"/>
                <c:pt idx="0">
                  <c:v>1130.55</c:v>
                </c:pt>
                <c:pt idx="1">
                  <c:v>1278.48</c:v>
                </c:pt>
                <c:pt idx="3">
                  <c:v>5963.5</c:v>
                </c:pt>
                <c:pt idx="4">
                  <c:v>1376.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1</c:v>
                </c:pt>
                <c:pt idx="2">
                  <c:v/>
                </c:pt>
                <c:pt idx="3">
                  <c:v>IX 49</c:v>
                </c:pt>
                <c:pt idx="4">
                  <c:v>IX 100</c:v>
                </c:pt>
              </c:strCache>
            </c:strRef>
          </c:cat>
          <c:val>
            <c:numRef>
              <c:f>Sheet1!$D$2:$D$6</c:f>
              <c:numCache>
                <c:formatCode>General</c:formatCode>
                <c:ptCount val="5"/>
                <c:pt idx="0">
                  <c:v>2745.4</c:v>
                </c:pt>
                <c:pt idx="1">
                  <c:v>1410.25</c:v>
                </c:pt>
                <c:pt idx="2">
                  <c:v>1458.48</c:v>
                </c:pt>
                <c:pt idx="3">
                  <c:v>7517.22</c:v>
                </c:pt>
                <c:pt idx="4">
                  <c:v>165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1</c:v>
                </c:pt>
                <c:pt idx="2">
                  <c:v/>
                </c:pt>
                <c:pt idx="3">
                  <c:v>IX 49</c:v>
                </c:pt>
                <c:pt idx="4">
                  <c:v>IX 100</c:v>
                </c:pt>
              </c:strCache>
            </c:strRef>
          </c:cat>
          <c:val>
            <c:numRef>
              <c:f>Sheet1!$E$2:$E$6</c:f>
              <c:numCache>
                <c:formatCode>General</c:formatCode>
                <c:ptCount val="5"/>
                <c:pt idx="0">
                  <c:v>12603.47</c:v>
                </c:pt>
                <c:pt idx="1">
                  <c:v>15090.77</c:v>
                </c:pt>
                <c:pt idx="2">
                  <c:v>2760.48</c:v>
                </c:pt>
                <c:pt idx="3">
                  <c:v>12397.29</c:v>
                </c:pt>
                <c:pt idx="4">
                  <c:v>6309.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91</c:v>
                </c:pt>
                <c:pt idx="2">
                  <c:v/>
                </c:pt>
                <c:pt idx="3">
                  <c:v>IX 49</c:v>
                </c:pt>
                <c:pt idx="4">
                  <c:v>IX 100</c:v>
                </c:pt>
              </c:strCache>
            </c:strRef>
          </c:cat>
          <c:val>
            <c:numRef>
              <c:f>Sheet1!$F$2:$F$6</c:f>
              <c:numCache>
                <c:formatCode>General</c:formatCode>
                <c:ptCount val="5"/>
                <c:pt idx="0">
                  <c:v>13100.88</c:v>
                </c:pt>
                <c:pt idx="1">
                  <c:v>11689.27</c:v>
                </c:pt>
                <c:pt idx="2">
                  <c:v>12513.38</c:v>
                </c:pt>
                <c:pt idx="3">
                  <c:v>12247.8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091.2667"/>
          <c:min val="1130.04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B$2:$B$5</c:f>
              <c:numCache>
                <c:formatCode>General</c:formatCode>
                <c:ptCount val="4"/>
                <c:pt idx="0">
                  <c:v>1828.63</c:v>
                </c:pt>
                <c:pt idx="1">
                  <c:v>1218.19</c:v>
                </c:pt>
                <c:pt idx="2">
                  <c:v>615.24</c:v>
                </c:pt>
                <c:pt idx="3">
                  <c:v>6086.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40.56</a:t>
                    </a:r>
                  </a:p>
                </c:rich>
              </c:tx>
              <c:dLblPos val="l"/>
              <c:showLegendKey val="0"/>
              <c:showVal val="1"/>
              <c:showCatName val="0"/>
              <c:showSerName val="0"/>
              <c:showPercent val="0"/>
              <c:showBubbleSize val="0"/>
            </c:dLbl>
            <c:dLbl>
              <c:idx val="1"/>
              <c:tx>
                <c:rich>
                  <a:bodyPr/>
                  <a:lstStyle/>
                  <a:p>
                    <a:r>
                      <a:t>IX 100</a:t>
                    </a:r>
                  </a:p>
                  <a:p>
                    <a:r>
                      <a:t>1216.87</a:t>
                    </a:r>
                  </a:p>
                </c:rich>
              </c:tx>
              <c:dLblPos val="l"/>
              <c:showLegendKey val="0"/>
              <c:showVal val="1"/>
              <c:showCatName val="0"/>
              <c:showSerName val="0"/>
              <c:showPercent val="0"/>
              <c:showBubbleSize val="0"/>
            </c:dLbl>
            <c:dLbl>
              <c:idx val="2"/>
              <c:tx>
                <c:rich>
                  <a:bodyPr/>
                  <a:lstStyle/>
                  <a:p>
                    <a:r>
                      <a:t>IX 100</a:t>
                    </a:r>
                  </a:p>
                  <a:p>
                    <a:r>
                      <a:t>718.0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C$2:$C$5</c:f>
              <c:numCache>
                <c:formatCode>General</c:formatCode>
                <c:ptCount val="4"/>
                <c:pt idx="0">
                  <c:v>1340.56</c:v>
                </c:pt>
                <c:pt idx="1">
                  <c:v>1216.87</c:v>
                </c:pt>
                <c:pt idx="2">
                  <c:v>718.0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D$2:$D$5</c:f>
              <c:numCache>
                <c:formatCode>General</c:formatCode>
                <c:ptCount val="4"/>
                <c:pt idx="0">
                  <c:v>1905.47</c:v>
                </c:pt>
                <c:pt idx="1">
                  <c:v>1377.86</c:v>
                </c:pt>
                <c:pt idx="2">
                  <c:v>599.46</c:v>
                </c:pt>
                <c:pt idx="3">
                  <c:v>1841.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E$2:$E$5</c:f>
              <c:numCache>
                <c:formatCode>General</c:formatCode>
                <c:ptCount val="4"/>
                <c:pt idx="0">
                  <c:v>10734.89</c:v>
                </c:pt>
                <c:pt idx="2">
                  <c:v>6272.33</c:v>
                </c:pt>
                <c:pt idx="3">
                  <c:v>13001.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F$2:$F$5</c:f>
              <c:numCache>
                <c:formatCode>General</c:formatCode>
                <c:ptCount val="4"/>
                <c:pt idx="0">
                  <c:v>7379.99</c:v>
                </c:pt>
                <c:pt idx="3">
                  <c:v>10424.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001.741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45</c:v>
                </c:pt>
                <c:pt idx="2">
                  <c:v/>
                </c:pt>
                <c:pt idx="3">
                  <c:v/>
                </c:pt>
                <c:pt idx="4">
                  <c:v/>
                </c:pt>
              </c:strCache>
            </c:strRef>
          </c:cat>
          <c:val>
            <c:numRef>
              <c:f>Sheet1!$B$2:$B$6</c:f>
              <c:numCache>
                <c:formatCode>General</c:formatCode>
                <c:ptCount val="5"/>
                <c:pt idx="0">
                  <c:v>2492.7</c:v>
                </c:pt>
                <c:pt idx="1">
                  <c:v>1510.75</c:v>
                </c:pt>
                <c:pt idx="2">
                  <c:v>2450.94</c:v>
                </c:pt>
                <c:pt idx="3">
                  <c:v>11872.52</c:v>
                </c:pt>
                <c:pt idx="4">
                  <c:v>1679.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45</a:t>
                    </a:r>
                  </a:p>
                  <a:p>
                    <a:r>
                      <a:t>4864.0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45</c:v>
                </c:pt>
                <c:pt idx="2">
                  <c:v/>
                </c:pt>
                <c:pt idx="3">
                  <c:v/>
                </c:pt>
                <c:pt idx="4">
                  <c:v/>
                </c:pt>
              </c:strCache>
            </c:strRef>
          </c:cat>
          <c:val>
            <c:numRef>
              <c:f>Sheet1!$C$2:$C$6</c:f>
              <c:numCache>
                <c:formatCode>General</c:formatCode>
                <c:ptCount val="5"/>
                <c:pt idx="1">
                  <c:v>4864.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45</c:v>
                </c:pt>
                <c:pt idx="2">
                  <c:v/>
                </c:pt>
                <c:pt idx="3">
                  <c:v/>
                </c:pt>
                <c:pt idx="4">
                  <c:v/>
                </c:pt>
              </c:strCache>
            </c:strRef>
          </c:cat>
          <c:val>
            <c:numRef>
              <c:f>Sheet1!$D$2:$D$6</c:f>
              <c:numCache>
                <c:formatCode>General</c:formatCode>
                <c:ptCount val="5"/>
                <c:pt idx="0">
                  <c:v>2745.4</c:v>
                </c:pt>
                <c:pt idx="1">
                  <c:v>1410.25</c:v>
                </c:pt>
                <c:pt idx="2">
                  <c:v>1458.48</c:v>
                </c:pt>
                <c:pt idx="3">
                  <c:v>7517.22</c:v>
                </c:pt>
                <c:pt idx="4">
                  <c:v>165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45</c:v>
                </c:pt>
                <c:pt idx="2">
                  <c:v/>
                </c:pt>
                <c:pt idx="3">
                  <c:v/>
                </c:pt>
                <c:pt idx="4">
                  <c:v/>
                </c:pt>
              </c:strCache>
            </c:strRef>
          </c:cat>
          <c:val>
            <c:numRef>
              <c:f>Sheet1!$E$2:$E$6</c:f>
              <c:numCache>
                <c:formatCode>General</c:formatCode>
                <c:ptCount val="5"/>
                <c:pt idx="0">
                  <c:v>12603.47</c:v>
                </c:pt>
                <c:pt idx="1">
                  <c:v>15090.77</c:v>
                </c:pt>
                <c:pt idx="2">
                  <c:v>2760.48</c:v>
                </c:pt>
                <c:pt idx="3">
                  <c:v>12397.29</c:v>
                </c:pt>
                <c:pt idx="4">
                  <c:v>6309.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45</c:v>
                </c:pt>
                <c:pt idx="2">
                  <c:v/>
                </c:pt>
                <c:pt idx="3">
                  <c:v/>
                </c:pt>
                <c:pt idx="4">
                  <c:v/>
                </c:pt>
              </c:strCache>
            </c:strRef>
          </c:cat>
          <c:val>
            <c:numRef>
              <c:f>Sheet1!$F$2:$F$6</c:f>
              <c:numCache>
                <c:formatCode>General</c:formatCode>
                <c:ptCount val="5"/>
                <c:pt idx="0">
                  <c:v>13100.88</c:v>
                </c:pt>
                <c:pt idx="1">
                  <c:v>11689.27</c:v>
                </c:pt>
                <c:pt idx="2">
                  <c:v>12513.38</c:v>
                </c:pt>
                <c:pt idx="3">
                  <c:v>12247.8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091.2667"/>
          <c:min val="1409.75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12984.97</c:v>
                </c:pt>
                <c:pt idx="1">
                  <c:v>1689.57</c:v>
                </c:pt>
                <c:pt idx="2">
                  <c:v>12659.71</c:v>
                </c:pt>
                <c:pt idx="3">
                  <c:v>1835.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263.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1263.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12984.9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2">
                  <c:v>12659.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985.4667"/>
          <c:min val="1262.88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B$2:$B$6</c:f>
              <c:numCache>
                <c:formatCode>General</c:formatCode>
                <c:ptCount val="5"/>
                <c:pt idx="0">
                  <c:v>12984.97</c:v>
                </c:pt>
                <c:pt idx="1">
                  <c:v>1689.57</c:v>
                </c:pt>
                <c:pt idx="2">
                  <c:v>12659.71</c:v>
                </c:pt>
                <c:pt idx="3">
                  <c:v>1835.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835.0</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C$2:$C$6</c:f>
              <c:numCache>
                <c:formatCode>General</c:formatCode>
                <c:ptCount val="5"/>
                <c:pt idx="3">
                  <c:v>183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D$2:$D$6</c:f>
              <c:numCache>
                <c:formatCode>General</c:formatCode>
                <c:ptCount val="5"/>
                <c:pt idx="0">
                  <c:v>12984.9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E$2:$E$6</c:f>
              <c:numCache>
                <c:formatCode>General</c:formatCode>
                <c:ptCount val="5"/>
                <c:pt idx="2">
                  <c:v>12659.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
                </c:pt>
                <c:pt idx="2">
                  <c:v/>
                </c:pt>
                <c:pt idx="3">
                  <c:v>IX 100</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985.4667"/>
          <c:min val="1689.07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76</c:v>
                </c:pt>
                <c:pt idx="2">
                  <c:v/>
                </c:pt>
                <c:pt idx="3">
                  <c:v/>
                </c:pt>
                <c:pt idx="4">
                  <c:v/>
                </c:pt>
              </c:strCache>
            </c:strRef>
          </c:cat>
          <c:val>
            <c:numRef>
              <c:f>Sheet1!$B$2:$B$6</c:f>
              <c:numCache>
                <c:formatCode>General</c:formatCode>
                <c:ptCount val="5"/>
                <c:pt idx="0">
                  <c:v>790.08</c:v>
                </c:pt>
                <c:pt idx="1">
                  <c:v>1563.43</c:v>
                </c:pt>
                <c:pt idx="2">
                  <c:v>1865.24</c:v>
                </c:pt>
                <c:pt idx="3">
                  <c:v>1831.03</c:v>
                </c:pt>
                <c:pt idx="4">
                  <c:v>19263.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6</a:t>
                    </a:r>
                  </a:p>
                  <a:p>
                    <a:r>
                      <a:t>1090.0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76</c:v>
                </c:pt>
                <c:pt idx="2">
                  <c:v/>
                </c:pt>
                <c:pt idx="3">
                  <c:v/>
                </c:pt>
                <c:pt idx="4">
                  <c:v/>
                </c:pt>
              </c:strCache>
            </c:strRef>
          </c:cat>
          <c:val>
            <c:numRef>
              <c:f>Sheet1!$C$2:$C$6</c:f>
              <c:numCache>
                <c:formatCode>General</c:formatCode>
                <c:ptCount val="5"/>
                <c:pt idx="1">
                  <c:v>1090.0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76</c:v>
                </c:pt>
                <c:pt idx="2">
                  <c:v/>
                </c:pt>
                <c:pt idx="3">
                  <c:v/>
                </c:pt>
                <c:pt idx="4">
                  <c:v/>
                </c:pt>
              </c:strCache>
            </c:strRef>
          </c:cat>
          <c:val>
            <c:numRef>
              <c:f>Sheet1!$D$2:$D$6</c:f>
              <c:numCache>
                <c:formatCode>General</c:formatCode>
                <c:ptCount val="5"/>
                <c:pt idx="1">
                  <c:v>1429.66</c:v>
                </c:pt>
                <c:pt idx="2">
                  <c:v>1858.43</c:v>
                </c:pt>
                <c:pt idx="3">
                  <c:v>1791.6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76</c:v>
                </c:pt>
                <c:pt idx="2">
                  <c:v/>
                </c:pt>
                <c:pt idx="3">
                  <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76</c:v>
                </c:pt>
                <c:pt idx="2">
                  <c:v/>
                </c:pt>
                <c:pt idx="3">
                  <c:v/>
                </c:pt>
                <c:pt idx="4">
                  <c:v/>
                </c:pt>
              </c:strCache>
            </c:strRef>
          </c:cat>
          <c:val>
            <c:numRef>
              <c:f>Sheet1!$F$2:$F$6</c:f>
              <c:numCache>
                <c:formatCode>General</c:formatCode>
                <c:ptCount val="5"/>
                <c:pt idx="1">
                  <c:v>236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64.25"/>
          <c:min val="789.57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297</c:v>
                </c:pt>
                <c:pt idx="2">
                  <c:v/>
                </c:pt>
                <c:pt idx="3">
                  <c:v>IX 268</c:v>
                </c:pt>
                <c:pt idx="4">
                  <c:v/>
                </c:pt>
              </c:strCache>
            </c:strRef>
          </c:cat>
          <c:val>
            <c:numRef>
              <c:f>Sheet1!$B$2:$B$6</c:f>
              <c:numCache>
                <c:formatCode>General</c:formatCode>
                <c:ptCount val="5"/>
                <c:pt idx="0">
                  <c:v>790.08</c:v>
                </c:pt>
                <c:pt idx="1">
                  <c:v>1563.43</c:v>
                </c:pt>
                <c:pt idx="2">
                  <c:v>1865.24</c:v>
                </c:pt>
                <c:pt idx="3">
                  <c:v>1831.03</c:v>
                </c:pt>
                <c:pt idx="4">
                  <c:v>19263.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82.25</a:t>
                    </a:r>
                  </a:p>
                </c:rich>
              </c:tx>
              <c:dLblPos val="l"/>
              <c:showLegendKey val="0"/>
              <c:showVal val="1"/>
              <c:showCatName val="0"/>
              <c:showSerName val="0"/>
              <c:showPercent val="0"/>
              <c:showBubbleSize val="0"/>
            </c:dLbl>
            <c:dLbl>
              <c:idx val="1"/>
              <c:tx>
                <c:rich>
                  <a:bodyPr/>
                  <a:lstStyle/>
                  <a:p>
                    <a:r>
                      <a:t>IX 297</a:t>
                    </a:r>
                  </a:p>
                  <a:p>
                    <a:r>
                      <a:t>4244.0</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268</a:t>
                    </a:r>
                  </a:p>
                  <a:p>
                    <a:r>
                      <a:t>4795.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297</c:v>
                </c:pt>
                <c:pt idx="2">
                  <c:v/>
                </c:pt>
                <c:pt idx="3">
                  <c:v>IX 268</c:v>
                </c:pt>
                <c:pt idx="4">
                  <c:v/>
                </c:pt>
              </c:strCache>
            </c:strRef>
          </c:cat>
          <c:val>
            <c:numRef>
              <c:f>Sheet1!$C$2:$C$6</c:f>
              <c:numCache>
                <c:formatCode>General</c:formatCode>
                <c:ptCount val="5"/>
                <c:pt idx="0">
                  <c:v>1382.25</c:v>
                </c:pt>
                <c:pt idx="1">
                  <c:v>4244.0</c:v>
                </c:pt>
                <c:pt idx="3">
                  <c:v>479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297</c:v>
                </c:pt>
                <c:pt idx="2">
                  <c:v/>
                </c:pt>
                <c:pt idx="3">
                  <c:v>IX 268</c:v>
                </c:pt>
                <c:pt idx="4">
                  <c:v/>
                </c:pt>
              </c:strCache>
            </c:strRef>
          </c:cat>
          <c:val>
            <c:numRef>
              <c:f>Sheet1!$D$2:$D$6</c:f>
              <c:numCache>
                <c:formatCode>General</c:formatCode>
                <c:ptCount val="5"/>
                <c:pt idx="1">
                  <c:v>1429.66</c:v>
                </c:pt>
                <c:pt idx="2">
                  <c:v>1858.43</c:v>
                </c:pt>
                <c:pt idx="3">
                  <c:v>1791.6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297</c:v>
                </c:pt>
                <c:pt idx="2">
                  <c:v/>
                </c:pt>
                <c:pt idx="3">
                  <c:v>IX 268</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297</c:v>
                </c:pt>
                <c:pt idx="2">
                  <c:v/>
                </c:pt>
                <c:pt idx="3">
                  <c:v>IX 268</c:v>
                </c:pt>
                <c:pt idx="4">
                  <c:v/>
                </c:pt>
              </c:strCache>
            </c:strRef>
          </c:cat>
          <c:val>
            <c:numRef>
              <c:f>Sheet1!$F$2:$F$6</c:f>
              <c:numCache>
                <c:formatCode>General</c:formatCode>
                <c:ptCount val="5"/>
                <c:pt idx="1">
                  <c:v>236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64.25"/>
          <c:min val="789.57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87</c:v>
                </c:pt>
                <c:pt idx="2">
                  <c:v>IX 92</c:v>
                </c:pt>
                <c:pt idx="3">
                  <c:v/>
                </c:pt>
                <c:pt idx="4">
                  <c:v/>
                </c:pt>
              </c:strCache>
            </c:strRef>
          </c:cat>
          <c:val>
            <c:numRef>
              <c:f>Sheet1!$B$2:$B$6</c:f>
              <c:numCache>
                <c:formatCode>General</c:formatCode>
                <c:ptCount val="5"/>
                <c:pt idx="0">
                  <c:v>1621.17</c:v>
                </c:pt>
                <c:pt idx="1">
                  <c:v>1466.59</c:v>
                </c:pt>
                <c:pt idx="2">
                  <c:v>1594.59</c:v>
                </c:pt>
                <c:pt idx="3">
                  <c:v>1498.59</c:v>
                </c:pt>
                <c:pt idx="4">
                  <c:v>11267.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1252.42</a:t>
                    </a:r>
                  </a:p>
                </c:rich>
              </c:tx>
              <c:dLblPos val="l"/>
              <c:showLegendKey val="0"/>
              <c:showVal val="1"/>
              <c:showCatName val="0"/>
              <c:showSerName val="0"/>
              <c:showPercent val="0"/>
              <c:showBubbleSize val="0"/>
            </c:dLbl>
            <c:dLbl>
              <c:idx val="1"/>
              <c:tx>
                <c:rich>
                  <a:bodyPr/>
                  <a:lstStyle/>
                  <a:p>
                    <a:r>
                      <a:t>IX 87</a:t>
                    </a:r>
                  </a:p>
                  <a:p>
                    <a:r>
                      <a:t>1248.59</a:t>
                    </a:r>
                  </a:p>
                </c:rich>
              </c:tx>
              <c:dLblPos val="l"/>
              <c:showLegendKey val="0"/>
              <c:showVal val="1"/>
              <c:showCatName val="0"/>
              <c:showSerName val="0"/>
              <c:showPercent val="0"/>
              <c:showBubbleSize val="0"/>
            </c:dLbl>
            <c:dLbl>
              <c:idx val="2"/>
              <c:tx>
                <c:rich>
                  <a:bodyPr/>
                  <a:lstStyle/>
                  <a:p>
                    <a:r>
                      <a:t>IX 92</a:t>
                    </a:r>
                  </a:p>
                  <a:p>
                    <a:r>
                      <a:t>1552.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87</c:v>
                </c:pt>
                <c:pt idx="2">
                  <c:v>IX 92</c:v>
                </c:pt>
                <c:pt idx="3">
                  <c:v/>
                </c:pt>
                <c:pt idx="4">
                  <c:v/>
                </c:pt>
              </c:strCache>
            </c:strRef>
          </c:cat>
          <c:val>
            <c:numRef>
              <c:f>Sheet1!$C$2:$C$6</c:f>
              <c:numCache>
                <c:formatCode>General</c:formatCode>
                <c:ptCount val="5"/>
                <c:pt idx="0">
                  <c:v>1252.42</c:v>
                </c:pt>
                <c:pt idx="1">
                  <c:v>1248.59</c:v>
                </c:pt>
                <c:pt idx="2">
                  <c:v>155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87</c:v>
                </c:pt>
                <c:pt idx="2">
                  <c:v>IX 92</c:v>
                </c:pt>
                <c:pt idx="3">
                  <c:v/>
                </c:pt>
                <c:pt idx="4">
                  <c:v/>
                </c:pt>
              </c:strCache>
            </c:strRef>
          </c:cat>
          <c:val>
            <c:numRef>
              <c:f>Sheet1!$D$2:$D$6</c:f>
              <c:numCache>
                <c:formatCode>General</c:formatCode>
                <c:ptCount val="5"/>
                <c:pt idx="0">
                  <c:v>2434.49</c:v>
                </c:pt>
                <c:pt idx="1">
                  <c:v>1430.11</c:v>
                </c:pt>
                <c:pt idx="2">
                  <c:v>1696.82</c:v>
                </c:pt>
                <c:pt idx="3">
                  <c:v>1385.3</c:v>
                </c:pt>
                <c:pt idx="4">
                  <c:v>7926.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87</c:v>
                </c:pt>
                <c:pt idx="2">
                  <c:v>IX 92</c:v>
                </c:pt>
                <c:pt idx="3">
                  <c:v/>
                </c:pt>
                <c:pt idx="4">
                  <c:v/>
                </c:pt>
              </c:strCache>
            </c:strRef>
          </c:cat>
          <c:val>
            <c:numRef>
              <c:f>Sheet1!$E$2:$E$6</c:f>
              <c:numCache>
                <c:formatCode>General</c:formatCode>
                <c:ptCount val="5"/>
                <c:pt idx="0">
                  <c:v>5815.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1</c:v>
                </c:pt>
                <c:pt idx="1">
                  <c:v>IX 87</c:v>
                </c:pt>
                <c:pt idx="2">
                  <c:v>IX 92</c:v>
                </c:pt>
                <c:pt idx="3">
                  <c:v/>
                </c:pt>
                <c:pt idx="4">
                  <c:v/>
                </c:pt>
              </c:strCache>
            </c:strRef>
          </c:cat>
          <c:val>
            <c:numRef>
              <c:f>Sheet1!$F$2:$F$6</c:f>
              <c:numCache>
                <c:formatCode>General</c:formatCode>
                <c:ptCount val="5"/>
                <c:pt idx="0">
                  <c:v>12244.0</c:v>
                </c:pt>
                <c:pt idx="1">
                  <c:v>4031.83</c:v>
                </c:pt>
                <c:pt idx="2">
                  <c:v>8419.6</c:v>
                </c:pt>
                <c:pt idx="3">
                  <c:v>12166.14</c:v>
                </c:pt>
                <c:pt idx="4">
                  <c:v>16390.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391.3182"/>
          <c:min val="1248.09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89</c:v>
                </c:pt>
                <c:pt idx="2">
                  <c:v>IX 87</c:v>
                </c:pt>
                <c:pt idx="3">
                  <c:v/>
                </c:pt>
                <c:pt idx="4">
                  <c:v>IX 82</c:v>
                </c:pt>
              </c:strCache>
            </c:strRef>
          </c:cat>
          <c:val>
            <c:numRef>
              <c:f>Sheet1!$B$2:$B$6</c:f>
              <c:numCache>
                <c:formatCode>General</c:formatCode>
                <c:ptCount val="5"/>
                <c:pt idx="0">
                  <c:v>1621.17</c:v>
                </c:pt>
                <c:pt idx="1">
                  <c:v>1466.59</c:v>
                </c:pt>
                <c:pt idx="2">
                  <c:v>1594.59</c:v>
                </c:pt>
                <c:pt idx="3">
                  <c:v>1498.59</c:v>
                </c:pt>
                <c:pt idx="4">
                  <c:v>11267.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160.62</a:t>
                    </a:r>
                  </a:p>
                </c:rich>
              </c:tx>
              <c:dLblPos val="l"/>
              <c:showLegendKey val="0"/>
              <c:showVal val="1"/>
              <c:showCatName val="0"/>
              <c:showSerName val="0"/>
              <c:showPercent val="0"/>
              <c:showBubbleSize val="0"/>
            </c:dLbl>
            <c:dLbl>
              <c:idx val="1"/>
              <c:tx>
                <c:rich>
                  <a:bodyPr/>
                  <a:lstStyle/>
                  <a:p>
                    <a:r>
                      <a:t>IX 89</a:t>
                    </a:r>
                  </a:p>
                  <a:p>
                    <a:r>
                      <a:t>1279.71</a:t>
                    </a:r>
                  </a:p>
                </c:rich>
              </c:tx>
              <c:dLblPos val="l"/>
              <c:showLegendKey val="0"/>
              <c:showVal val="1"/>
              <c:showCatName val="0"/>
              <c:showSerName val="0"/>
              <c:showPercent val="0"/>
              <c:showBubbleSize val="0"/>
            </c:dLbl>
            <c:dLbl>
              <c:idx val="2"/>
              <c:tx>
                <c:rich>
                  <a:bodyPr/>
                  <a:lstStyle/>
                  <a:p>
                    <a:r>
                      <a:t>IX 87</a:t>
                    </a:r>
                  </a:p>
                  <a:p>
                    <a:r>
                      <a:t>1478.7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2</a:t>
                    </a:r>
                  </a:p>
                  <a:p>
                    <a:r>
                      <a:t>6465.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89</c:v>
                </c:pt>
                <c:pt idx="2">
                  <c:v>IX 87</c:v>
                </c:pt>
                <c:pt idx="3">
                  <c:v/>
                </c:pt>
                <c:pt idx="4">
                  <c:v>IX 82</c:v>
                </c:pt>
              </c:strCache>
            </c:strRef>
          </c:cat>
          <c:val>
            <c:numRef>
              <c:f>Sheet1!$C$2:$C$6</c:f>
              <c:numCache>
                <c:formatCode>General</c:formatCode>
                <c:ptCount val="5"/>
                <c:pt idx="0">
                  <c:v>1160.62</c:v>
                </c:pt>
                <c:pt idx="1">
                  <c:v>1279.71</c:v>
                </c:pt>
                <c:pt idx="2">
                  <c:v>1478.77</c:v>
                </c:pt>
                <c:pt idx="4">
                  <c:v>646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89</c:v>
                </c:pt>
                <c:pt idx="2">
                  <c:v>IX 87</c:v>
                </c:pt>
                <c:pt idx="3">
                  <c:v/>
                </c:pt>
                <c:pt idx="4">
                  <c:v>IX 82</c:v>
                </c:pt>
              </c:strCache>
            </c:strRef>
          </c:cat>
          <c:val>
            <c:numRef>
              <c:f>Sheet1!$D$2:$D$6</c:f>
              <c:numCache>
                <c:formatCode>General</c:formatCode>
                <c:ptCount val="5"/>
                <c:pt idx="0">
                  <c:v>2434.49</c:v>
                </c:pt>
                <c:pt idx="1">
                  <c:v>1430.11</c:v>
                </c:pt>
                <c:pt idx="2">
                  <c:v>1696.82</c:v>
                </c:pt>
                <c:pt idx="3">
                  <c:v>1385.3</c:v>
                </c:pt>
                <c:pt idx="4">
                  <c:v>7926.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89</c:v>
                </c:pt>
                <c:pt idx="2">
                  <c:v>IX 87</c:v>
                </c:pt>
                <c:pt idx="3">
                  <c:v/>
                </c:pt>
                <c:pt idx="4">
                  <c:v>IX 82</c:v>
                </c:pt>
              </c:strCache>
            </c:strRef>
          </c:cat>
          <c:val>
            <c:numRef>
              <c:f>Sheet1!$E$2:$E$6</c:f>
              <c:numCache>
                <c:formatCode>General</c:formatCode>
                <c:ptCount val="5"/>
                <c:pt idx="0">
                  <c:v>5815.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89</c:v>
                </c:pt>
                <c:pt idx="2">
                  <c:v>IX 87</c:v>
                </c:pt>
                <c:pt idx="3">
                  <c:v/>
                </c:pt>
                <c:pt idx="4">
                  <c:v>IX 82</c:v>
                </c:pt>
              </c:strCache>
            </c:strRef>
          </c:cat>
          <c:val>
            <c:numRef>
              <c:f>Sheet1!$F$2:$F$6</c:f>
              <c:numCache>
                <c:formatCode>General</c:formatCode>
                <c:ptCount val="5"/>
                <c:pt idx="0">
                  <c:v>12244.0</c:v>
                </c:pt>
                <c:pt idx="1">
                  <c:v>4031.83</c:v>
                </c:pt>
                <c:pt idx="2">
                  <c:v>8419.6</c:v>
                </c:pt>
                <c:pt idx="3">
                  <c:v>12166.14</c:v>
                </c:pt>
                <c:pt idx="4">
                  <c:v>16390.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391.3182"/>
          <c:min val="1160.12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9</c:v>
                </c:pt>
                <c:pt idx="2">
                  <c:v/>
                </c:pt>
                <c:pt idx="3">
                  <c:v/>
                </c:pt>
                <c:pt idx="4">
                  <c:v/>
                </c:pt>
              </c:strCache>
            </c:strRef>
          </c:cat>
          <c:val>
            <c:numRef>
              <c:f>Sheet1!$B$2:$B$6</c:f>
              <c:numCache>
                <c:formatCode>General</c:formatCode>
                <c:ptCount val="5"/>
                <c:pt idx="0">
                  <c:v>1621.17</c:v>
                </c:pt>
                <c:pt idx="1">
                  <c:v>1466.59</c:v>
                </c:pt>
                <c:pt idx="2">
                  <c:v>1594.59</c:v>
                </c:pt>
                <c:pt idx="3">
                  <c:v>1498.59</c:v>
                </c:pt>
                <c:pt idx="4">
                  <c:v>11267.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29</a:t>
                    </a:r>
                  </a:p>
                  <a:p>
                    <a:r>
                      <a:t>4707.8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9</c:v>
                </c:pt>
                <c:pt idx="2">
                  <c:v/>
                </c:pt>
                <c:pt idx="3">
                  <c:v/>
                </c:pt>
                <c:pt idx="4">
                  <c:v/>
                </c:pt>
              </c:strCache>
            </c:strRef>
          </c:cat>
          <c:val>
            <c:numRef>
              <c:f>Sheet1!$C$2:$C$6</c:f>
              <c:numCache>
                <c:formatCode>General</c:formatCode>
                <c:ptCount val="5"/>
                <c:pt idx="1">
                  <c:v>4707.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9</c:v>
                </c:pt>
                <c:pt idx="2">
                  <c:v/>
                </c:pt>
                <c:pt idx="3">
                  <c:v/>
                </c:pt>
                <c:pt idx="4">
                  <c:v/>
                </c:pt>
              </c:strCache>
            </c:strRef>
          </c:cat>
          <c:val>
            <c:numRef>
              <c:f>Sheet1!$D$2:$D$6</c:f>
              <c:numCache>
                <c:formatCode>General</c:formatCode>
                <c:ptCount val="5"/>
                <c:pt idx="0">
                  <c:v>2434.49</c:v>
                </c:pt>
                <c:pt idx="1">
                  <c:v>1430.11</c:v>
                </c:pt>
                <c:pt idx="2">
                  <c:v>1696.82</c:v>
                </c:pt>
                <c:pt idx="3">
                  <c:v>1385.3</c:v>
                </c:pt>
                <c:pt idx="4">
                  <c:v>7926.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9</c:v>
                </c:pt>
                <c:pt idx="2">
                  <c:v/>
                </c:pt>
                <c:pt idx="3">
                  <c:v/>
                </c:pt>
                <c:pt idx="4">
                  <c:v/>
                </c:pt>
              </c:strCache>
            </c:strRef>
          </c:cat>
          <c:val>
            <c:numRef>
              <c:f>Sheet1!$E$2:$E$6</c:f>
              <c:numCache>
                <c:formatCode>General</c:formatCode>
                <c:ptCount val="5"/>
                <c:pt idx="0">
                  <c:v>5815.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29</c:v>
                </c:pt>
                <c:pt idx="2">
                  <c:v/>
                </c:pt>
                <c:pt idx="3">
                  <c:v/>
                </c:pt>
                <c:pt idx="4">
                  <c:v/>
                </c:pt>
              </c:strCache>
            </c:strRef>
          </c:cat>
          <c:val>
            <c:numRef>
              <c:f>Sheet1!$F$2:$F$6</c:f>
              <c:numCache>
                <c:formatCode>General</c:formatCode>
                <c:ptCount val="5"/>
                <c:pt idx="0">
                  <c:v>12244.0</c:v>
                </c:pt>
                <c:pt idx="1">
                  <c:v>4031.83</c:v>
                </c:pt>
                <c:pt idx="2">
                  <c:v>8419.6</c:v>
                </c:pt>
                <c:pt idx="3">
                  <c:v>12166.14</c:v>
                </c:pt>
                <c:pt idx="4">
                  <c:v>16390.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391.3182"/>
          <c:min val="1384.795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
                </c:pt>
              </c:strCache>
            </c:strRef>
          </c:cat>
          <c:val>
            <c:numRef>
              <c:f>Sheet1!$B$2:$B$5</c:f>
              <c:numCache>
                <c:formatCode>General</c:formatCode>
                <c:ptCount val="4"/>
                <c:pt idx="1">
                  <c:v>1034.43</c:v>
                </c:pt>
                <c:pt idx="2">
                  <c:v>1548.06</c:v>
                </c:pt>
                <c:pt idx="3">
                  <c:v>5750.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632.0</a:t>
                    </a:r>
                  </a:p>
                </c:rich>
              </c:tx>
              <c:dLblPos val="l"/>
              <c:showLegendKey val="0"/>
              <c:showVal val="1"/>
              <c:showCatName val="0"/>
              <c:showSerName val="0"/>
              <c:showPercent val="0"/>
              <c:showBubbleSize val="0"/>
            </c:dLbl>
            <c:dLbl>
              <c:idx val="2"/>
              <c:tx>
                <c:rich>
                  <a:bodyPr/>
                  <a:lstStyle/>
                  <a:p>
                    <a:r>
                      <a:t>IX 100</a:t>
                    </a:r>
                  </a:p>
                  <a:p>
                    <a:r>
                      <a:t>1177.1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
                </c:pt>
              </c:strCache>
            </c:strRef>
          </c:cat>
          <c:val>
            <c:numRef>
              <c:f>Sheet1!$C$2:$C$5</c:f>
              <c:numCache>
                <c:formatCode>General</c:formatCode>
                <c:ptCount val="4"/>
                <c:pt idx="1">
                  <c:v>1632.0</c:v>
                </c:pt>
                <c:pt idx="2">
                  <c:v>1177.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
                </c:pt>
              </c:strCache>
            </c:strRef>
          </c:cat>
          <c:val>
            <c:numRef>
              <c:f>Sheet1!$D$2:$D$5</c:f>
              <c:numCache>
                <c:formatCode>General</c:formatCode>
                <c:ptCount val="4"/>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100</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5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1">
                  <c:v>1034.43</c:v>
                </c:pt>
                <c:pt idx="2">
                  <c:v>1548.06</c:v>
                </c:pt>
                <c:pt idx="3">
                  <c:v>5750.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5750.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5750.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5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4</c:v>
                </c:pt>
                <c:pt idx="2">
                  <c:v>IX 100</c:v>
                </c:pt>
                <c:pt idx="3">
                  <c:v>IX 9</c:v>
                </c:pt>
              </c:strCache>
            </c:strRef>
          </c:cat>
          <c:val>
            <c:numRef>
              <c:f>Sheet1!$B$2:$B$5</c:f>
              <c:numCache>
                <c:formatCode>General</c:formatCode>
                <c:ptCount val="4"/>
                <c:pt idx="0">
                  <c:v>1828.63</c:v>
                </c:pt>
                <c:pt idx="1">
                  <c:v>1218.19</c:v>
                </c:pt>
                <c:pt idx="2">
                  <c:v>615.24</c:v>
                </c:pt>
                <c:pt idx="3">
                  <c:v>6086.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379.52</a:t>
                    </a:r>
                  </a:p>
                </c:rich>
              </c:tx>
              <c:dLblPos val="l"/>
              <c:showLegendKey val="0"/>
              <c:showVal val="1"/>
              <c:showCatName val="0"/>
              <c:showSerName val="0"/>
              <c:showPercent val="0"/>
              <c:showBubbleSize val="0"/>
            </c:dLbl>
            <c:dLbl>
              <c:idx val="1"/>
              <c:tx>
                <c:rich>
                  <a:bodyPr/>
                  <a:lstStyle/>
                  <a:p>
                    <a:r>
                      <a:t>IX 74</a:t>
                    </a:r>
                  </a:p>
                  <a:p>
                    <a:r>
                      <a:t>1017.16</a:t>
                    </a:r>
                  </a:p>
                </c:rich>
              </c:tx>
              <c:dLblPos val="l"/>
              <c:showLegendKey val="0"/>
              <c:showVal val="1"/>
              <c:showCatName val="0"/>
              <c:showSerName val="0"/>
              <c:showPercent val="0"/>
              <c:showBubbleSize val="0"/>
            </c:dLbl>
            <c:dLbl>
              <c:idx val="2"/>
              <c:tx>
                <c:rich>
                  <a:bodyPr/>
                  <a:lstStyle/>
                  <a:p>
                    <a:r>
                      <a:t>IX 100</a:t>
                    </a:r>
                  </a:p>
                  <a:p>
                    <a:r>
                      <a:t>461.98</a:t>
                    </a:r>
                  </a:p>
                </c:rich>
              </c:tx>
              <c:dLblPos val="l"/>
              <c:showLegendKey val="0"/>
              <c:showVal val="1"/>
              <c:showCatName val="0"/>
              <c:showSerName val="0"/>
              <c:showPercent val="0"/>
              <c:showBubbleSize val="0"/>
            </c:dLbl>
            <c:dLbl>
              <c:idx val="3"/>
              <c:tx>
                <c:rich>
                  <a:bodyPr/>
                  <a:lstStyle/>
                  <a:p>
                    <a:r>
                      <a:t>IX 9</a:t>
                    </a:r>
                  </a:p>
                  <a:p>
                    <a:r>
                      <a:t>1184.7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4</c:v>
                </c:pt>
                <c:pt idx="2">
                  <c:v>IX 100</c:v>
                </c:pt>
                <c:pt idx="3">
                  <c:v>IX 9</c:v>
                </c:pt>
              </c:strCache>
            </c:strRef>
          </c:cat>
          <c:val>
            <c:numRef>
              <c:f>Sheet1!$C$2:$C$5</c:f>
              <c:numCache>
                <c:formatCode>General</c:formatCode>
                <c:ptCount val="4"/>
                <c:pt idx="0">
                  <c:v>1379.52</c:v>
                </c:pt>
                <c:pt idx="1">
                  <c:v>1017.16</c:v>
                </c:pt>
                <c:pt idx="2">
                  <c:v>461.98</c:v>
                </c:pt>
                <c:pt idx="3">
                  <c:v>1184.7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4</c:v>
                </c:pt>
                <c:pt idx="2">
                  <c:v>IX 100</c:v>
                </c:pt>
                <c:pt idx="3">
                  <c:v>IX 9</c:v>
                </c:pt>
              </c:strCache>
            </c:strRef>
          </c:cat>
          <c:val>
            <c:numRef>
              <c:f>Sheet1!$D$2:$D$5</c:f>
              <c:numCache>
                <c:formatCode>General</c:formatCode>
                <c:ptCount val="4"/>
                <c:pt idx="0">
                  <c:v>1905.47</c:v>
                </c:pt>
                <c:pt idx="1">
                  <c:v>1377.86</c:v>
                </c:pt>
                <c:pt idx="2">
                  <c:v>599.46</c:v>
                </c:pt>
                <c:pt idx="3">
                  <c:v>1841.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4</c:v>
                </c:pt>
                <c:pt idx="2">
                  <c:v>IX 100</c:v>
                </c:pt>
                <c:pt idx="3">
                  <c:v>IX 9</c:v>
                </c:pt>
              </c:strCache>
            </c:strRef>
          </c:cat>
          <c:val>
            <c:numRef>
              <c:f>Sheet1!$E$2:$E$5</c:f>
              <c:numCache>
                <c:formatCode>General</c:formatCode>
                <c:ptCount val="4"/>
                <c:pt idx="0">
                  <c:v>10734.89</c:v>
                </c:pt>
                <c:pt idx="2">
                  <c:v>6272.33</c:v>
                </c:pt>
                <c:pt idx="3">
                  <c:v>13001.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2</c:v>
                </c:pt>
                <c:pt idx="1">
                  <c:v>IX 74</c:v>
                </c:pt>
                <c:pt idx="2">
                  <c:v>IX 100</c:v>
                </c:pt>
                <c:pt idx="3">
                  <c:v>IX 9</c:v>
                </c:pt>
              </c:strCache>
            </c:strRef>
          </c:cat>
          <c:val>
            <c:numRef>
              <c:f>Sheet1!$F$2:$F$5</c:f>
              <c:numCache>
                <c:formatCode>General</c:formatCode>
                <c:ptCount val="4"/>
                <c:pt idx="0">
                  <c:v>7379.99</c:v>
                </c:pt>
                <c:pt idx="3">
                  <c:v>10424.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001.741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6</c:v>
                </c:pt>
                <c:pt idx="3">
                  <c:v/>
                </c:pt>
              </c:strCache>
            </c:strRef>
          </c:cat>
          <c:val>
            <c:numRef>
              <c:f>Sheet1!$B$2:$B$5</c:f>
              <c:numCache>
                <c:formatCode>General</c:formatCode>
                <c:ptCount val="4"/>
                <c:pt idx="0">
                  <c:v>796.33</c:v>
                </c:pt>
                <c:pt idx="1">
                  <c:v>1710.16</c:v>
                </c:pt>
                <c:pt idx="2">
                  <c:v>1344.57</c:v>
                </c:pt>
                <c:pt idx="3">
                  <c:v>1755.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6</a:t>
                    </a:r>
                  </a:p>
                  <a:p>
                    <a:r>
                      <a:t>756.2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6</c:v>
                </c:pt>
                <c:pt idx="3">
                  <c:v/>
                </c:pt>
              </c:strCache>
            </c:strRef>
          </c:cat>
          <c:val>
            <c:numRef>
              <c:f>Sheet1!$C$2:$C$5</c:f>
              <c:numCache>
                <c:formatCode>General</c:formatCode>
                <c:ptCount val="4"/>
                <c:pt idx="2">
                  <c:v>756.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6</c:v>
                </c:pt>
                <c:pt idx="3">
                  <c:v/>
                </c:pt>
              </c:strCache>
            </c:strRef>
          </c:cat>
          <c:val>
            <c:numRef>
              <c:f>Sheet1!$D$2:$D$5</c:f>
              <c:numCache>
                <c:formatCode>General</c:formatCode>
                <c:ptCount val="4"/>
                <c:pt idx="1">
                  <c:v>1710.16</c:v>
                </c:pt>
                <c:pt idx="2">
                  <c:v>1342.19</c:v>
                </c:pt>
                <c:pt idx="3">
                  <c:v>1741.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6</c:v>
                </c:pt>
                <c:pt idx="3">
                  <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56</c:v>
                </c:pt>
                <c:pt idx="3">
                  <c:v/>
                </c:pt>
              </c:strCache>
            </c:strRef>
          </c:cat>
          <c:val>
            <c:numRef>
              <c:f>Sheet1!$F$2:$F$5</c:f>
              <c:numCache>
                <c:formatCode>General</c:formatCode>
                <c:ptCount val="4"/>
                <c:pt idx="2">
                  <c:v>2037.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37.6163"/>
          <c:min val="755.77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97</c:v>
                </c:pt>
              </c:strCache>
            </c:strRef>
          </c:cat>
          <c:val>
            <c:numRef>
              <c:f>Sheet1!$B$2:$B$5</c:f>
              <c:numCache>
                <c:formatCode>General</c:formatCode>
                <c:ptCount val="4"/>
                <c:pt idx="0">
                  <c:v>796.33</c:v>
                </c:pt>
                <c:pt idx="1">
                  <c:v>1710.16</c:v>
                </c:pt>
                <c:pt idx="2">
                  <c:v>1344.57</c:v>
                </c:pt>
                <c:pt idx="3">
                  <c:v>1755.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158.5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97</a:t>
                    </a:r>
                  </a:p>
                  <a:p>
                    <a:r>
                      <a:t>3427.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97</c:v>
                </c:pt>
              </c:strCache>
            </c:strRef>
          </c:cat>
          <c:val>
            <c:numRef>
              <c:f>Sheet1!$C$2:$C$5</c:f>
              <c:numCache>
                <c:formatCode>General</c:formatCode>
                <c:ptCount val="4"/>
                <c:pt idx="0">
                  <c:v>1158.56</c:v>
                </c:pt>
                <c:pt idx="3">
                  <c:v>342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97</c:v>
                </c:pt>
              </c:strCache>
            </c:strRef>
          </c:cat>
          <c:val>
            <c:numRef>
              <c:f>Sheet1!$D$2:$D$5</c:f>
              <c:numCache>
                <c:formatCode>General</c:formatCode>
                <c:ptCount val="4"/>
                <c:pt idx="1">
                  <c:v>1710.16</c:v>
                </c:pt>
                <c:pt idx="2">
                  <c:v>1342.19</c:v>
                </c:pt>
                <c:pt idx="3">
                  <c:v>1741.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97</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IX 197</c:v>
                </c:pt>
              </c:strCache>
            </c:strRef>
          </c:cat>
          <c:val>
            <c:numRef>
              <c:f>Sheet1!$F$2:$F$5</c:f>
              <c:numCache>
                <c:formatCode>General</c:formatCode>
                <c:ptCount val="4"/>
                <c:pt idx="2">
                  <c:v>2037.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28.0"/>
          <c:min val="795.82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90</c:v>
                </c:pt>
                <c:pt idx="2">
                  <c:v/>
                </c:pt>
                <c:pt idx="3">
                  <c:v>IX 96</c:v>
                </c:pt>
                <c:pt idx="4">
                  <c:v/>
                </c:pt>
              </c:strCache>
            </c:strRef>
          </c:cat>
          <c:val>
            <c:numRef>
              <c:f>Sheet1!$B$2:$B$6</c:f>
              <c:numCache>
                <c:formatCode>General</c:formatCode>
                <c:ptCount val="5"/>
                <c:pt idx="0">
                  <c:v>1871.51</c:v>
                </c:pt>
                <c:pt idx="1">
                  <c:v>1529.41</c:v>
                </c:pt>
                <c:pt idx="2">
                  <c:v>1951.9</c:v>
                </c:pt>
                <c:pt idx="3">
                  <c:v>1643.63</c:v>
                </c:pt>
                <c:pt idx="4">
                  <c:v>12696.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272.82</a:t>
                    </a:r>
                  </a:p>
                </c:rich>
              </c:tx>
              <c:dLblPos val="l"/>
              <c:showLegendKey val="0"/>
              <c:showVal val="1"/>
              <c:showCatName val="0"/>
              <c:showSerName val="0"/>
              <c:showPercent val="0"/>
              <c:showBubbleSize val="0"/>
            </c:dLbl>
            <c:dLbl>
              <c:idx val="1"/>
              <c:tx>
                <c:rich>
                  <a:bodyPr/>
                  <a:lstStyle/>
                  <a:p>
                    <a:r>
                      <a:t>IX 90</a:t>
                    </a:r>
                  </a:p>
                  <a:p>
                    <a:r>
                      <a:t>1328.2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96</a:t>
                    </a:r>
                  </a:p>
                  <a:p>
                    <a:r>
                      <a:t>1628.3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90</c:v>
                </c:pt>
                <c:pt idx="2">
                  <c:v/>
                </c:pt>
                <c:pt idx="3">
                  <c:v>IX 96</c:v>
                </c:pt>
                <c:pt idx="4">
                  <c:v/>
                </c:pt>
              </c:strCache>
            </c:strRef>
          </c:cat>
          <c:val>
            <c:numRef>
              <c:f>Sheet1!$C$2:$C$6</c:f>
              <c:numCache>
                <c:formatCode>General</c:formatCode>
                <c:ptCount val="5"/>
                <c:pt idx="0">
                  <c:v>1272.82</c:v>
                </c:pt>
                <c:pt idx="1">
                  <c:v>1328.23</c:v>
                </c:pt>
                <c:pt idx="3">
                  <c:v>1628.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90</c:v>
                </c:pt>
                <c:pt idx="2">
                  <c:v/>
                </c:pt>
                <c:pt idx="3">
                  <c:v>IX 96</c:v>
                </c:pt>
                <c:pt idx="4">
                  <c:v/>
                </c:pt>
              </c:strCache>
            </c:strRef>
          </c:cat>
          <c:val>
            <c:numRef>
              <c:f>Sheet1!$D$2:$D$6</c:f>
              <c:numCache>
                <c:formatCode>General</c:formatCode>
                <c:ptCount val="5"/>
                <c:pt idx="0">
                  <c:v>2637.49</c:v>
                </c:pt>
                <c:pt idx="1">
                  <c:v>1472.24</c:v>
                </c:pt>
                <c:pt idx="2">
                  <c:v>1484.86</c:v>
                </c:pt>
                <c:pt idx="3">
                  <c:v>1695.99</c:v>
                </c:pt>
                <c:pt idx="4">
                  <c:v>7852.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90</c:v>
                </c:pt>
                <c:pt idx="2">
                  <c:v/>
                </c:pt>
                <c:pt idx="3">
                  <c:v>IX 96</c:v>
                </c:pt>
                <c:pt idx="4">
                  <c:v/>
                </c:pt>
              </c:strCache>
            </c:strRef>
          </c:cat>
          <c:val>
            <c:numRef>
              <c:f>Sheet1!$E$2:$E$6</c:f>
              <c:numCache>
                <c:formatCode>General</c:formatCode>
                <c:ptCount val="5"/>
                <c:pt idx="0">
                  <c:v>13052.06</c:v>
                </c:pt>
                <c:pt idx="1">
                  <c:v>24205.08</c:v>
                </c:pt>
                <c:pt idx="2">
                  <c:v>2597.86</c:v>
                </c:pt>
                <c:pt idx="3">
                  <c:v>6109.97</c:v>
                </c:pt>
                <c:pt idx="4">
                  <c:v>1449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90</c:v>
                </c:pt>
                <c:pt idx="2">
                  <c:v/>
                </c:pt>
                <c:pt idx="3">
                  <c:v>IX 96</c:v>
                </c:pt>
                <c:pt idx="4">
                  <c:v/>
                </c:pt>
              </c:strCache>
            </c:strRef>
          </c:cat>
          <c:val>
            <c:numRef>
              <c:f>Sheet1!$F$2:$F$6</c:f>
              <c:numCache>
                <c:formatCode>General</c:formatCode>
                <c:ptCount val="5"/>
                <c:pt idx="0">
                  <c:v>582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05.5833"/>
          <c:min val="1272.31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85</c:v>
                </c:pt>
                <c:pt idx="2">
                  <c:v/>
                </c:pt>
                <c:pt idx="3">
                  <c:v>IX 81</c:v>
                </c:pt>
                <c:pt idx="4">
                  <c:v>IX 38</c:v>
                </c:pt>
              </c:strCache>
            </c:strRef>
          </c:cat>
          <c:val>
            <c:numRef>
              <c:f>Sheet1!$B$2:$B$6</c:f>
              <c:numCache>
                <c:formatCode>General</c:formatCode>
                <c:ptCount val="5"/>
                <c:pt idx="0">
                  <c:v>1871.51</c:v>
                </c:pt>
                <c:pt idx="1">
                  <c:v>1529.41</c:v>
                </c:pt>
                <c:pt idx="2">
                  <c:v>1951.9</c:v>
                </c:pt>
                <c:pt idx="3">
                  <c:v>1643.63</c:v>
                </c:pt>
                <c:pt idx="4">
                  <c:v>12696.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5</a:t>
                    </a:r>
                  </a:p>
                  <a:p>
                    <a:r>
                      <a:t>1178.66</a:t>
                    </a:r>
                  </a:p>
                </c:rich>
              </c:tx>
              <c:dLblPos val="l"/>
              <c:showLegendKey val="0"/>
              <c:showVal val="1"/>
              <c:showCatName val="0"/>
              <c:showSerName val="0"/>
              <c:showPercent val="0"/>
              <c:showBubbleSize val="0"/>
            </c:dLbl>
            <c:dLbl>
              <c:idx val="1"/>
              <c:tx>
                <c:rich>
                  <a:bodyPr/>
                  <a:lstStyle/>
                  <a:p>
                    <a:r>
                      <a:t>IX 85</a:t>
                    </a:r>
                  </a:p>
                  <a:p>
                    <a:r>
                      <a:t>1258.3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81</a:t>
                    </a:r>
                  </a:p>
                  <a:p>
                    <a:r>
                      <a:t>1375.67</a:t>
                    </a:r>
                  </a:p>
                </c:rich>
              </c:tx>
              <c:dLblPos val="l"/>
              <c:showLegendKey val="0"/>
              <c:showVal val="1"/>
              <c:showCatName val="0"/>
              <c:showSerName val="0"/>
              <c:showPercent val="0"/>
              <c:showBubbleSize val="0"/>
            </c:dLbl>
            <c:dLbl>
              <c:idx val="4"/>
              <c:tx>
                <c:rich>
                  <a:bodyPr/>
                  <a:lstStyle/>
                  <a:p>
                    <a:r>
                      <a:t>IX 38</a:t>
                    </a:r>
                  </a:p>
                  <a:p>
                    <a:r>
                      <a:t>5550.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85</c:v>
                </c:pt>
                <c:pt idx="2">
                  <c:v/>
                </c:pt>
                <c:pt idx="3">
                  <c:v>IX 81</c:v>
                </c:pt>
                <c:pt idx="4">
                  <c:v>IX 38</c:v>
                </c:pt>
              </c:strCache>
            </c:strRef>
          </c:cat>
          <c:val>
            <c:numRef>
              <c:f>Sheet1!$C$2:$C$6</c:f>
              <c:numCache>
                <c:formatCode>General</c:formatCode>
                <c:ptCount val="5"/>
                <c:pt idx="0">
                  <c:v>1178.66</c:v>
                </c:pt>
                <c:pt idx="1">
                  <c:v>1258.36</c:v>
                </c:pt>
                <c:pt idx="3">
                  <c:v>1375.67</c:v>
                </c:pt>
                <c:pt idx="4">
                  <c:v>5550.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85</c:v>
                </c:pt>
                <c:pt idx="2">
                  <c:v/>
                </c:pt>
                <c:pt idx="3">
                  <c:v>IX 81</c:v>
                </c:pt>
                <c:pt idx="4">
                  <c:v>IX 38</c:v>
                </c:pt>
              </c:strCache>
            </c:strRef>
          </c:cat>
          <c:val>
            <c:numRef>
              <c:f>Sheet1!$D$2:$D$6</c:f>
              <c:numCache>
                <c:formatCode>General</c:formatCode>
                <c:ptCount val="5"/>
                <c:pt idx="0">
                  <c:v>2637.49</c:v>
                </c:pt>
                <c:pt idx="1">
                  <c:v>1472.24</c:v>
                </c:pt>
                <c:pt idx="2">
                  <c:v>1484.86</c:v>
                </c:pt>
                <c:pt idx="3">
                  <c:v>1695.99</c:v>
                </c:pt>
                <c:pt idx="4">
                  <c:v>7852.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85</c:v>
                </c:pt>
                <c:pt idx="2">
                  <c:v/>
                </c:pt>
                <c:pt idx="3">
                  <c:v>IX 81</c:v>
                </c:pt>
                <c:pt idx="4">
                  <c:v>IX 38</c:v>
                </c:pt>
              </c:strCache>
            </c:strRef>
          </c:cat>
          <c:val>
            <c:numRef>
              <c:f>Sheet1!$E$2:$E$6</c:f>
              <c:numCache>
                <c:formatCode>General</c:formatCode>
                <c:ptCount val="5"/>
                <c:pt idx="0">
                  <c:v>13052.06</c:v>
                </c:pt>
                <c:pt idx="1">
                  <c:v>24205.08</c:v>
                </c:pt>
                <c:pt idx="2">
                  <c:v>2597.86</c:v>
                </c:pt>
                <c:pt idx="3">
                  <c:v>6109.97</c:v>
                </c:pt>
                <c:pt idx="4">
                  <c:v>1449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5</c:v>
                </c:pt>
                <c:pt idx="1">
                  <c:v>IX 85</c:v>
                </c:pt>
                <c:pt idx="2">
                  <c:v/>
                </c:pt>
                <c:pt idx="3">
                  <c:v>IX 81</c:v>
                </c:pt>
                <c:pt idx="4">
                  <c:v>IX 38</c:v>
                </c:pt>
              </c:strCache>
            </c:strRef>
          </c:cat>
          <c:val>
            <c:numRef>
              <c:f>Sheet1!$F$2:$F$6</c:f>
              <c:numCache>
                <c:formatCode>General</c:formatCode>
                <c:ptCount val="5"/>
                <c:pt idx="0">
                  <c:v>582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05.5833"/>
          <c:min val="1178.16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1</c:v>
                </c:pt>
                <c:pt idx="2">
                  <c:v/>
                </c:pt>
                <c:pt idx="3">
                  <c:v/>
                </c:pt>
                <c:pt idx="4">
                  <c:v/>
                </c:pt>
              </c:strCache>
            </c:strRef>
          </c:cat>
          <c:val>
            <c:numRef>
              <c:f>Sheet1!$B$2:$B$6</c:f>
              <c:numCache>
                <c:formatCode>General</c:formatCode>
                <c:ptCount val="5"/>
                <c:pt idx="0">
                  <c:v>1871.51</c:v>
                </c:pt>
                <c:pt idx="1">
                  <c:v>1529.41</c:v>
                </c:pt>
                <c:pt idx="2">
                  <c:v>1951.9</c:v>
                </c:pt>
                <c:pt idx="3">
                  <c:v>1643.63</c:v>
                </c:pt>
                <c:pt idx="4">
                  <c:v>12696.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31</a:t>
                    </a:r>
                  </a:p>
                  <a:p>
                    <a:r>
                      <a:t>4873.1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1</c:v>
                </c:pt>
                <c:pt idx="2">
                  <c:v/>
                </c:pt>
                <c:pt idx="3">
                  <c:v/>
                </c:pt>
                <c:pt idx="4">
                  <c:v/>
                </c:pt>
              </c:strCache>
            </c:strRef>
          </c:cat>
          <c:val>
            <c:numRef>
              <c:f>Sheet1!$C$2:$C$6</c:f>
              <c:numCache>
                <c:formatCode>General</c:formatCode>
                <c:ptCount val="5"/>
                <c:pt idx="1">
                  <c:v>4873.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1</c:v>
                </c:pt>
                <c:pt idx="2">
                  <c:v/>
                </c:pt>
                <c:pt idx="3">
                  <c:v/>
                </c:pt>
                <c:pt idx="4">
                  <c:v/>
                </c:pt>
              </c:strCache>
            </c:strRef>
          </c:cat>
          <c:val>
            <c:numRef>
              <c:f>Sheet1!$D$2:$D$6</c:f>
              <c:numCache>
                <c:formatCode>General</c:formatCode>
                <c:ptCount val="5"/>
                <c:pt idx="0">
                  <c:v>2637.49</c:v>
                </c:pt>
                <c:pt idx="1">
                  <c:v>1472.24</c:v>
                </c:pt>
                <c:pt idx="2">
                  <c:v>1484.86</c:v>
                </c:pt>
                <c:pt idx="3">
                  <c:v>1695.99</c:v>
                </c:pt>
                <c:pt idx="4">
                  <c:v>7852.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1</c:v>
                </c:pt>
                <c:pt idx="2">
                  <c:v/>
                </c:pt>
                <c:pt idx="3">
                  <c:v/>
                </c:pt>
                <c:pt idx="4">
                  <c:v/>
                </c:pt>
              </c:strCache>
            </c:strRef>
          </c:cat>
          <c:val>
            <c:numRef>
              <c:f>Sheet1!$E$2:$E$6</c:f>
              <c:numCache>
                <c:formatCode>General</c:formatCode>
                <c:ptCount val="5"/>
                <c:pt idx="0">
                  <c:v>13052.06</c:v>
                </c:pt>
                <c:pt idx="1">
                  <c:v>24205.08</c:v>
                </c:pt>
                <c:pt idx="2">
                  <c:v>2597.86</c:v>
                </c:pt>
                <c:pt idx="3">
                  <c:v>6109.97</c:v>
                </c:pt>
                <c:pt idx="4">
                  <c:v>1449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1</c:v>
                </c:pt>
                <c:pt idx="2">
                  <c:v/>
                </c:pt>
                <c:pt idx="3">
                  <c:v/>
                </c:pt>
                <c:pt idx="4">
                  <c:v/>
                </c:pt>
              </c:strCache>
            </c:strRef>
          </c:cat>
          <c:val>
            <c:numRef>
              <c:f>Sheet1!$F$2:$F$6</c:f>
              <c:numCache>
                <c:formatCode>General</c:formatCode>
                <c:ptCount val="5"/>
                <c:pt idx="0">
                  <c:v>582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05.5833"/>
          <c:min val="1471.73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13022.5</c:v>
                </c:pt>
                <c:pt idx="1">
                  <c:v>1544.52</c:v>
                </c:pt>
                <c:pt idx="2">
                  <c:v>2699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47.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104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1302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E$2:$E$5</c:f>
              <c:numCache>
                <c:formatCode>General</c:formatCode>
                <c:ptCount val="4"/>
                <c:pt idx="2">
                  <c:v>2699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04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B$2:$B$5</c:f>
              <c:numCache>
                <c:formatCode>General</c:formatCode>
                <c:ptCount val="4"/>
                <c:pt idx="0">
                  <c:v>13022.5</c:v>
                </c:pt>
                <c:pt idx="1">
                  <c:v>1544.52</c:v>
                </c:pt>
                <c:pt idx="2">
                  <c:v>2699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C$2:$C$5</c:f>
              <c:numCache>
                <c:formatCode>General</c:formatCode>
                <c:ptCount val="4"/>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D$2:$D$5</c:f>
              <c:numCache>
                <c:formatCode>General</c:formatCode>
                <c:ptCount val="4"/>
                <c:pt idx="0">
                  <c:v>1302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E$2:$E$5</c:f>
              <c:numCache>
                <c:formatCode>General</c:formatCode>
                <c:ptCount val="4"/>
                <c:pt idx="2">
                  <c:v>2699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B$2:$B$6</c:f>
              <c:numCache>
                <c:formatCode>General</c:formatCode>
                <c:ptCount val="5"/>
                <c:pt idx="0">
                  <c:v>755.89</c:v>
                </c:pt>
                <c:pt idx="1">
                  <c:v>1504.7</c:v>
                </c:pt>
                <c:pt idx="2">
                  <c:v>1923.53</c:v>
                </c:pt>
                <c:pt idx="3">
                  <c:v>1818.03</c:v>
                </c:pt>
                <c:pt idx="4">
                  <c:v>7169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5</a:t>
                    </a:r>
                  </a:p>
                  <a:p>
                    <a:r>
                      <a:t>803.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C$2:$C$6</c:f>
              <c:numCache>
                <c:formatCode>General</c:formatCode>
                <c:ptCount val="5"/>
                <c:pt idx="1">
                  <c:v>803.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Eucer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D$2:$D$6</c:f>
              <c:numCache>
                <c:formatCode>General</c:formatCode>
                <c:ptCount val="5"/>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E$2:$E$6</c:f>
              <c:numCache>
                <c:formatCode>General</c:formatCode>
                <c:ptCount val="5"/>
                <c:pt idx="1">
                  <c:v>3206.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5</c:v>
                </c:pt>
                <c:pt idx="2">
                  <c:v/>
                </c:pt>
                <c:pt idx="3">
                  <c:v/>
                </c:pt>
                <c:pt idx="4">
                  <c:v/>
                </c:pt>
              </c:strCache>
            </c:strRef>
          </c:cat>
          <c:val>
            <c:numRef>
              <c:f>Sheet1!$F$2:$F$6</c:f>
              <c:numCache>
                <c:formatCode>General</c:formatCode>
                <c:ptCount val="5"/>
                <c:pt idx="1">
                  <c:v>1463.17</c:v>
                </c:pt>
                <c:pt idx="2">
                  <c:v>1922.06</c:v>
                </c:pt>
                <c:pt idx="3">
                  <c:v>1786.0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694.5"/>
          <c:min val="755.38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0</c:v>
                </c:pt>
                <c:pt idx="2">
                  <c:v/>
                </c:pt>
                <c:pt idx="3">
                  <c:v>IX 347</c:v>
                </c:pt>
                <c:pt idx="4">
                  <c:v/>
                </c:pt>
              </c:strCache>
            </c:strRef>
          </c:cat>
          <c:val>
            <c:numRef>
              <c:f>Sheet1!$B$2:$B$6</c:f>
              <c:numCache>
                <c:formatCode>General</c:formatCode>
                <c:ptCount val="5"/>
                <c:pt idx="0">
                  <c:v>755.89</c:v>
                </c:pt>
                <c:pt idx="1">
                  <c:v>1504.7</c:v>
                </c:pt>
                <c:pt idx="2">
                  <c:v>1923.53</c:v>
                </c:pt>
                <c:pt idx="3">
                  <c:v>1818.03</c:v>
                </c:pt>
                <c:pt idx="4">
                  <c:v>71694.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93.43</a:t>
                    </a:r>
                  </a:p>
                </c:rich>
              </c:tx>
              <c:dLblPos val="l"/>
              <c:showLegendKey val="0"/>
              <c:showVal val="1"/>
              <c:showCatName val="0"/>
              <c:showSerName val="0"/>
              <c:showPercent val="0"/>
              <c:showBubbleSize val="0"/>
            </c:dLbl>
            <c:dLbl>
              <c:idx val="1"/>
              <c:tx>
                <c:rich>
                  <a:bodyPr/>
                  <a:lstStyle/>
                  <a:p>
                    <a:r>
                      <a:t>IX 100</a:t>
                    </a:r>
                  </a:p>
                  <a:p>
                    <a:r>
                      <a:t>1463.0</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347</a:t>
                    </a:r>
                  </a:p>
                  <a:p>
                    <a:r>
                      <a:t>6196.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0</c:v>
                </c:pt>
                <c:pt idx="2">
                  <c:v/>
                </c:pt>
                <c:pt idx="3">
                  <c:v>IX 347</c:v>
                </c:pt>
                <c:pt idx="4">
                  <c:v/>
                </c:pt>
              </c:strCache>
            </c:strRef>
          </c:cat>
          <c:val>
            <c:numRef>
              <c:f>Sheet1!$C$2:$C$6</c:f>
              <c:numCache>
                <c:formatCode>General</c:formatCode>
                <c:ptCount val="5"/>
                <c:pt idx="0">
                  <c:v>1393.43</c:v>
                </c:pt>
                <c:pt idx="1">
                  <c:v>1463.0</c:v>
                </c:pt>
                <c:pt idx="3">
                  <c:v>6196.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0</c:v>
                </c:pt>
                <c:pt idx="2">
                  <c:v/>
                </c:pt>
                <c:pt idx="3">
                  <c:v>IX 347</c:v>
                </c:pt>
                <c:pt idx="4">
                  <c:v/>
                </c:pt>
              </c:strCache>
            </c:strRef>
          </c:cat>
          <c:val>
            <c:numRef>
              <c:f>Sheet1!$D$2:$D$6</c:f>
              <c:numCache>
                <c:formatCode>General</c:formatCode>
                <c:ptCount val="5"/>
                <c:pt idx="1">
                  <c:v>1463.17</c:v>
                </c:pt>
                <c:pt idx="2">
                  <c:v>1922.06</c:v>
                </c:pt>
                <c:pt idx="3">
                  <c:v>1786.0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0</c:v>
                </c:pt>
                <c:pt idx="2">
                  <c:v/>
                </c:pt>
                <c:pt idx="3">
                  <c:v>IX 347</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00</c:v>
                </c:pt>
                <c:pt idx="2">
                  <c:v/>
                </c:pt>
                <c:pt idx="3">
                  <c:v>IX 347</c:v>
                </c:pt>
                <c:pt idx="4">
                  <c:v/>
                </c:pt>
              </c:strCache>
            </c:strRef>
          </c:cat>
          <c:val>
            <c:numRef>
              <c:f>Sheet1!$F$2:$F$6</c:f>
              <c:numCache>
                <c:formatCode>General</c:formatCode>
                <c:ptCount val="5"/>
                <c:pt idx="1">
                  <c:v>3206.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1694.5"/>
          <c:min val="755.38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100</c:v>
                </c:pt>
                <c:pt idx="3">
                  <c:v/>
                </c:pt>
                <c:pt idx="4">
                  <c:v/>
                </c:pt>
              </c:strCache>
            </c:strRef>
          </c:cat>
          <c:val>
            <c:numRef>
              <c:f>Sheet1!$B$2:$B$6</c:f>
              <c:numCache>
                <c:formatCode>General</c:formatCode>
                <c:ptCount val="5"/>
                <c:pt idx="0">
                  <c:v>1865.2</c:v>
                </c:pt>
                <c:pt idx="1">
                  <c:v>1528.34</c:v>
                </c:pt>
                <c:pt idx="2">
                  <c:v>1673.48</c:v>
                </c:pt>
                <c:pt idx="3">
                  <c:v>2099.47</c:v>
                </c:pt>
                <c:pt idx="4">
                  <c:v>12876.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278.4</a:t>
                    </a:r>
                  </a:p>
                </c:rich>
              </c:tx>
              <c:dLblPos val="l"/>
              <c:showLegendKey val="0"/>
              <c:showVal val="1"/>
              <c:showCatName val="0"/>
              <c:showSerName val="0"/>
              <c:showPercent val="0"/>
              <c:showBubbleSize val="0"/>
            </c:dLbl>
            <c:dLbl>
              <c:idx val="1"/>
              <c:tx>
                <c:rich>
                  <a:bodyPr/>
                  <a:lstStyle/>
                  <a:p>
                    <a:r>
                      <a:t>IX 100</a:t>
                    </a:r>
                  </a:p>
                  <a:p>
                    <a:r>
                      <a:t>1335.15</a:t>
                    </a:r>
                  </a:p>
                </c:rich>
              </c:tx>
              <c:dLblPos val="l"/>
              <c:showLegendKey val="0"/>
              <c:showVal val="1"/>
              <c:showCatName val="0"/>
              <c:showSerName val="0"/>
              <c:showPercent val="0"/>
              <c:showBubbleSize val="0"/>
            </c:dLbl>
            <c:dLbl>
              <c:idx val="2"/>
              <c:tx>
                <c:rich>
                  <a:bodyPr/>
                  <a:lstStyle/>
                  <a:p>
                    <a:r>
                      <a:t>IX 100</a:t>
                    </a:r>
                  </a:p>
                  <a:p>
                    <a:r>
                      <a:t>1641.3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100</c:v>
                </c:pt>
                <c:pt idx="3">
                  <c:v/>
                </c:pt>
                <c:pt idx="4">
                  <c:v/>
                </c:pt>
              </c:strCache>
            </c:strRef>
          </c:cat>
          <c:val>
            <c:numRef>
              <c:f>Sheet1!$C$2:$C$6</c:f>
              <c:numCache>
                <c:formatCode>General</c:formatCode>
                <c:ptCount val="5"/>
                <c:pt idx="0">
                  <c:v>1278.4</c:v>
                </c:pt>
                <c:pt idx="1">
                  <c:v>1335.15</c:v>
                </c:pt>
                <c:pt idx="2">
                  <c:v>164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100</c:v>
                </c:pt>
                <c:pt idx="3">
                  <c:v/>
                </c:pt>
                <c:pt idx="4">
                  <c:v/>
                </c:pt>
              </c:strCache>
            </c:strRef>
          </c:cat>
          <c:val>
            <c:numRef>
              <c:f>Sheet1!$D$2:$D$6</c:f>
              <c:numCache>
                <c:formatCode>General</c:formatCode>
                <c:ptCount val="5"/>
                <c:pt idx="0">
                  <c:v>2690.55</c:v>
                </c:pt>
                <c:pt idx="1">
                  <c:v>1479.62</c:v>
                </c:pt>
                <c:pt idx="2">
                  <c:v>1695.44</c:v>
                </c:pt>
                <c:pt idx="3">
                  <c:v>1493.9</c:v>
                </c:pt>
                <c:pt idx="4">
                  <c:v>7714.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100</c:v>
                </c:pt>
                <c:pt idx="3">
                  <c:v/>
                </c:pt>
                <c:pt idx="4">
                  <c:v/>
                </c:pt>
              </c:strCache>
            </c:strRef>
          </c:cat>
          <c:val>
            <c:numRef>
              <c:f>Sheet1!$E$2:$E$6</c:f>
              <c:numCache>
                <c:formatCode>General</c:formatCode>
                <c:ptCount val="5"/>
                <c:pt idx="0">
                  <c:v>13437.75</c:v>
                </c:pt>
                <c:pt idx="1">
                  <c:v>97010.0</c:v>
                </c:pt>
                <c:pt idx="2">
                  <c:v>5919.07</c:v>
                </c:pt>
                <c:pt idx="3">
                  <c:v>2649.94</c:v>
                </c:pt>
                <c:pt idx="4">
                  <c:v>15100.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8</c:v>
                </c:pt>
                <c:pt idx="1">
                  <c:v>IX 100</c:v>
                </c:pt>
                <c:pt idx="2">
                  <c:v>IX 100</c:v>
                </c:pt>
                <c:pt idx="3">
                  <c:v/>
                </c:pt>
                <c:pt idx="4">
                  <c:v/>
                </c:pt>
              </c:strCache>
            </c:strRef>
          </c:cat>
          <c:val>
            <c:numRef>
              <c:f>Sheet1!$F$2:$F$6</c:f>
              <c:numCache>
                <c:formatCode>General</c:formatCode>
                <c:ptCount val="5"/>
                <c:pt idx="0">
                  <c:v>5833.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010.5"/>
          <c:min val="1277.900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B$2:$B$5</c:f>
              <c:numCache>
                <c:formatCode>General</c:formatCode>
                <c:ptCount val="4"/>
                <c:pt idx="0">
                  <c:v>1828.63</c:v>
                </c:pt>
                <c:pt idx="1">
                  <c:v>1218.19</c:v>
                </c:pt>
                <c:pt idx="2">
                  <c:v>615.24</c:v>
                </c:pt>
                <c:pt idx="3">
                  <c:v>6086.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7</a:t>
                    </a:r>
                  </a:p>
                  <a:p>
                    <a:r>
                      <a:t>4900.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C$2:$C$5</c:f>
              <c:numCache>
                <c:formatCode>General</c:formatCode>
                <c:ptCount val="4"/>
                <c:pt idx="0">
                  <c:v>490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D$2:$D$5</c:f>
              <c:numCache>
                <c:formatCode>General</c:formatCode>
                <c:ptCount val="4"/>
                <c:pt idx="0">
                  <c:v>1905.47</c:v>
                </c:pt>
                <c:pt idx="1">
                  <c:v>1377.86</c:v>
                </c:pt>
                <c:pt idx="2">
                  <c:v>599.46</c:v>
                </c:pt>
                <c:pt idx="3">
                  <c:v>1841.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E$2:$E$5</c:f>
              <c:numCache>
                <c:formatCode>General</c:formatCode>
                <c:ptCount val="4"/>
                <c:pt idx="0">
                  <c:v>10734.89</c:v>
                </c:pt>
                <c:pt idx="2">
                  <c:v>6272.33</c:v>
                </c:pt>
                <c:pt idx="3">
                  <c:v>13001.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F$2:$F$5</c:f>
              <c:numCache>
                <c:formatCode>General</c:formatCode>
                <c:ptCount val="4"/>
                <c:pt idx="0">
                  <c:v>7379.99</c:v>
                </c:pt>
                <c:pt idx="3">
                  <c:v>10424.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001.741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6</c:v>
                </c:pt>
                <c:pt idx="2">
                  <c:v>IX 100</c:v>
                </c:pt>
                <c:pt idx="3">
                  <c:v/>
                </c:pt>
                <c:pt idx="4">
                  <c:v>IX 46</c:v>
                </c:pt>
              </c:strCache>
            </c:strRef>
          </c:cat>
          <c:val>
            <c:numRef>
              <c:f>Sheet1!$B$2:$B$6</c:f>
              <c:numCache>
                <c:formatCode>General</c:formatCode>
                <c:ptCount val="5"/>
                <c:pt idx="0">
                  <c:v>1865.2</c:v>
                </c:pt>
                <c:pt idx="1">
                  <c:v>1528.34</c:v>
                </c:pt>
                <c:pt idx="2">
                  <c:v>1673.48</c:v>
                </c:pt>
                <c:pt idx="3">
                  <c:v>2099.47</c:v>
                </c:pt>
                <c:pt idx="4">
                  <c:v>12876.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190.11</a:t>
                    </a:r>
                  </a:p>
                </c:rich>
              </c:tx>
              <c:dLblPos val="l"/>
              <c:showLegendKey val="0"/>
              <c:showVal val="1"/>
              <c:showCatName val="0"/>
              <c:showSerName val="0"/>
              <c:showPercent val="0"/>
              <c:showBubbleSize val="0"/>
            </c:dLbl>
            <c:dLbl>
              <c:idx val="1"/>
              <c:tx>
                <c:rich>
                  <a:bodyPr/>
                  <a:lstStyle/>
                  <a:p>
                    <a:r>
                      <a:t>IX 86</a:t>
                    </a:r>
                  </a:p>
                  <a:p>
                    <a:r>
                      <a:t>1275.71</a:t>
                    </a:r>
                  </a:p>
                </c:rich>
              </c:tx>
              <c:dLblPos val="l"/>
              <c:showLegendKey val="0"/>
              <c:showVal val="1"/>
              <c:showCatName val="0"/>
              <c:showSerName val="0"/>
              <c:showPercent val="0"/>
              <c:showBubbleSize val="0"/>
            </c:dLbl>
            <c:dLbl>
              <c:idx val="2"/>
              <c:tx>
                <c:rich>
                  <a:bodyPr/>
                  <a:lstStyle/>
                  <a:p>
                    <a:r>
                      <a:t>IX 100</a:t>
                    </a:r>
                  </a:p>
                  <a:p>
                    <a:r>
                      <a:t>1561.5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6</a:t>
                    </a:r>
                  </a:p>
                  <a:p>
                    <a:r>
                      <a:t>6933.7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6</c:v>
                </c:pt>
                <c:pt idx="2">
                  <c:v>IX 100</c:v>
                </c:pt>
                <c:pt idx="3">
                  <c:v/>
                </c:pt>
                <c:pt idx="4">
                  <c:v>IX 46</c:v>
                </c:pt>
              </c:strCache>
            </c:strRef>
          </c:cat>
          <c:val>
            <c:numRef>
              <c:f>Sheet1!$C$2:$C$6</c:f>
              <c:numCache>
                <c:formatCode>General</c:formatCode>
                <c:ptCount val="5"/>
                <c:pt idx="0">
                  <c:v>1190.11</c:v>
                </c:pt>
                <c:pt idx="1">
                  <c:v>1275.71</c:v>
                </c:pt>
                <c:pt idx="2">
                  <c:v>1561.59</c:v>
                </c:pt>
                <c:pt idx="4">
                  <c:v>6933.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6</c:v>
                </c:pt>
                <c:pt idx="2">
                  <c:v>IX 100</c:v>
                </c:pt>
                <c:pt idx="3">
                  <c:v/>
                </c:pt>
                <c:pt idx="4">
                  <c:v>IX 46</c:v>
                </c:pt>
              </c:strCache>
            </c:strRef>
          </c:cat>
          <c:val>
            <c:numRef>
              <c:f>Sheet1!$D$2:$D$6</c:f>
              <c:numCache>
                <c:formatCode>General</c:formatCode>
                <c:ptCount val="5"/>
                <c:pt idx="0">
                  <c:v>2690.55</c:v>
                </c:pt>
                <c:pt idx="1">
                  <c:v>1479.62</c:v>
                </c:pt>
                <c:pt idx="2">
                  <c:v>1695.44</c:v>
                </c:pt>
                <c:pt idx="3">
                  <c:v>1493.9</c:v>
                </c:pt>
                <c:pt idx="4">
                  <c:v>7714.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6</c:v>
                </c:pt>
                <c:pt idx="2">
                  <c:v>IX 100</c:v>
                </c:pt>
                <c:pt idx="3">
                  <c:v/>
                </c:pt>
                <c:pt idx="4">
                  <c:v>IX 46</c:v>
                </c:pt>
              </c:strCache>
            </c:strRef>
          </c:cat>
          <c:val>
            <c:numRef>
              <c:f>Sheet1!$E$2:$E$6</c:f>
              <c:numCache>
                <c:formatCode>General</c:formatCode>
                <c:ptCount val="5"/>
                <c:pt idx="0">
                  <c:v>13437.75</c:v>
                </c:pt>
                <c:pt idx="1">
                  <c:v>97010.0</c:v>
                </c:pt>
                <c:pt idx="2">
                  <c:v>5919.07</c:v>
                </c:pt>
                <c:pt idx="3">
                  <c:v>2649.94</c:v>
                </c:pt>
                <c:pt idx="4">
                  <c:v>15100.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4</c:v>
                </c:pt>
                <c:pt idx="1">
                  <c:v>IX 86</c:v>
                </c:pt>
                <c:pt idx="2">
                  <c:v>IX 100</c:v>
                </c:pt>
                <c:pt idx="3">
                  <c:v/>
                </c:pt>
                <c:pt idx="4">
                  <c:v>IX 46</c:v>
                </c:pt>
              </c:strCache>
            </c:strRef>
          </c:cat>
          <c:val>
            <c:numRef>
              <c:f>Sheet1!$F$2:$F$6</c:f>
              <c:numCache>
                <c:formatCode>General</c:formatCode>
                <c:ptCount val="5"/>
                <c:pt idx="0">
                  <c:v>5833.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010.5"/>
          <c:min val="1189.61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6</c:v>
                </c:pt>
                <c:pt idx="2">
                  <c:v/>
                </c:pt>
                <c:pt idx="3">
                  <c:v/>
                </c:pt>
                <c:pt idx="4">
                  <c:v/>
                </c:pt>
              </c:strCache>
            </c:strRef>
          </c:cat>
          <c:val>
            <c:numRef>
              <c:f>Sheet1!$B$2:$B$6</c:f>
              <c:numCache>
                <c:formatCode>General</c:formatCode>
                <c:ptCount val="5"/>
                <c:pt idx="0">
                  <c:v>1865.2</c:v>
                </c:pt>
                <c:pt idx="1">
                  <c:v>1528.34</c:v>
                </c:pt>
                <c:pt idx="2">
                  <c:v>1673.48</c:v>
                </c:pt>
                <c:pt idx="3">
                  <c:v>2099.47</c:v>
                </c:pt>
                <c:pt idx="4">
                  <c:v>12876.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36</a:t>
                    </a:r>
                  </a:p>
                  <a:p>
                    <a:r>
                      <a:t>4967.2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6</c:v>
                </c:pt>
                <c:pt idx="2">
                  <c:v/>
                </c:pt>
                <c:pt idx="3">
                  <c:v/>
                </c:pt>
                <c:pt idx="4">
                  <c:v/>
                </c:pt>
              </c:strCache>
            </c:strRef>
          </c:cat>
          <c:val>
            <c:numRef>
              <c:f>Sheet1!$C$2:$C$6</c:f>
              <c:numCache>
                <c:formatCode>General</c:formatCode>
                <c:ptCount val="5"/>
                <c:pt idx="1">
                  <c:v>4967.2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6</c:v>
                </c:pt>
                <c:pt idx="2">
                  <c:v/>
                </c:pt>
                <c:pt idx="3">
                  <c:v/>
                </c:pt>
                <c:pt idx="4">
                  <c:v/>
                </c:pt>
              </c:strCache>
            </c:strRef>
          </c:cat>
          <c:val>
            <c:numRef>
              <c:f>Sheet1!$D$2:$D$6</c:f>
              <c:numCache>
                <c:formatCode>General</c:formatCode>
                <c:ptCount val="5"/>
                <c:pt idx="0">
                  <c:v>2690.55</c:v>
                </c:pt>
                <c:pt idx="1">
                  <c:v>1479.62</c:v>
                </c:pt>
                <c:pt idx="2">
                  <c:v>1695.44</c:v>
                </c:pt>
                <c:pt idx="3">
                  <c:v>1493.9</c:v>
                </c:pt>
                <c:pt idx="4">
                  <c:v>7714.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6</c:v>
                </c:pt>
                <c:pt idx="2">
                  <c:v/>
                </c:pt>
                <c:pt idx="3">
                  <c:v/>
                </c:pt>
                <c:pt idx="4">
                  <c:v/>
                </c:pt>
              </c:strCache>
            </c:strRef>
          </c:cat>
          <c:val>
            <c:numRef>
              <c:f>Sheet1!$E$2:$E$6</c:f>
              <c:numCache>
                <c:formatCode>General</c:formatCode>
                <c:ptCount val="5"/>
                <c:pt idx="0">
                  <c:v>13437.75</c:v>
                </c:pt>
                <c:pt idx="1">
                  <c:v>97010.0</c:v>
                </c:pt>
                <c:pt idx="2">
                  <c:v>5919.07</c:v>
                </c:pt>
                <c:pt idx="3">
                  <c:v>2649.94</c:v>
                </c:pt>
                <c:pt idx="4">
                  <c:v>15100.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6</c:v>
                </c:pt>
                <c:pt idx="2">
                  <c:v/>
                </c:pt>
                <c:pt idx="3">
                  <c:v/>
                </c:pt>
                <c:pt idx="4">
                  <c:v/>
                </c:pt>
              </c:strCache>
            </c:strRef>
          </c:cat>
          <c:val>
            <c:numRef>
              <c:f>Sheet1!$F$2:$F$6</c:f>
              <c:numCache>
                <c:formatCode>General</c:formatCode>
                <c:ptCount val="5"/>
                <c:pt idx="0">
                  <c:v>5833.4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010.5"/>
          <c:min val="1479.11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B$2:$B$5</c:f>
              <c:numCache>
                <c:formatCode>General</c:formatCode>
                <c:ptCount val="4"/>
                <c:pt idx="0">
                  <c:v>17579.15</c:v>
                </c:pt>
                <c:pt idx="1">
                  <c:v>1506.78</c:v>
                </c:pt>
                <c:pt idx="2">
                  <c:v>23757.5</c:v>
                </c:pt>
                <c:pt idx="3">
                  <c:v>2250.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99.43</a:t>
                    </a:r>
                  </a:p>
                </c:rich>
              </c:tx>
              <c:dLblPos val="l"/>
              <c:showLegendKey val="0"/>
              <c:showVal val="1"/>
              <c:showCatName val="0"/>
              <c:showSerName val="0"/>
              <c:showPercent val="0"/>
              <c:showBubbleSize val="0"/>
            </c:dLbl>
            <c:dLbl>
              <c:idx val="2"/>
              <c:tx>
                <c:rich>
                  <a:bodyPr/>
                  <a:lstStyle/>
                  <a:p>
                    <a:r>
                      <a:t>IX 0</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C$2:$C$5</c:f>
              <c:numCache>
                <c:formatCode>General</c:formatCode>
                <c:ptCount val="4"/>
                <c:pt idx="1">
                  <c:v>1099.4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D$2:$D$5</c:f>
              <c:numCache>
                <c:formatCode>General</c:formatCode>
                <c:ptCount val="4"/>
                <c:pt idx="0">
                  <c:v>17579.1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E$2:$E$5</c:f>
              <c:numCache>
                <c:formatCode>General</c:formatCode>
                <c:ptCount val="4"/>
                <c:pt idx="2">
                  <c:v>23583.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IX 0</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758.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0">
                  <c:v>17579.15</c:v>
                </c:pt>
                <c:pt idx="1">
                  <c:v>1506.78</c:v>
                </c:pt>
                <c:pt idx="2">
                  <c:v>23757.5</c:v>
                </c:pt>
                <c:pt idx="3">
                  <c:v>2250.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2250.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2250.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pt idx="0">
                  <c:v>17579.1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pt idx="2">
                  <c:v>23583.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758.0"/>
          <c:min val="1506.27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7</c:v>
                </c:pt>
                <c:pt idx="2">
                  <c:v/>
                </c:pt>
                <c:pt idx="3">
                  <c:v/>
                </c:pt>
                <c:pt idx="4">
                  <c:v/>
                </c:pt>
              </c:strCache>
            </c:strRef>
          </c:cat>
          <c:val>
            <c:numRef>
              <c:f>Sheet1!$B$2:$B$6</c:f>
              <c:numCache>
                <c:formatCode>General</c:formatCode>
                <c:ptCount val="5"/>
                <c:pt idx="0">
                  <c:v>759.84</c:v>
                </c:pt>
                <c:pt idx="1">
                  <c:v>1539.74</c:v>
                </c:pt>
                <c:pt idx="2">
                  <c:v>1974.33</c:v>
                </c:pt>
                <c:pt idx="3">
                  <c:v>1822.29</c:v>
                </c:pt>
                <c:pt idx="4">
                  <c:v>80798.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7</a:t>
                    </a:r>
                  </a:p>
                  <a:p>
                    <a:r>
                      <a:t>839.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7</c:v>
                </c:pt>
                <c:pt idx="2">
                  <c:v/>
                </c:pt>
                <c:pt idx="3">
                  <c:v/>
                </c:pt>
                <c:pt idx="4">
                  <c:v/>
                </c:pt>
              </c:strCache>
            </c:strRef>
          </c:cat>
          <c:val>
            <c:numRef>
              <c:f>Sheet1!$C$2:$C$6</c:f>
              <c:numCache>
                <c:formatCode>General</c:formatCode>
                <c:ptCount val="5"/>
                <c:pt idx="1">
                  <c:v>83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7</c:v>
                </c:pt>
                <c:pt idx="2">
                  <c:v/>
                </c:pt>
                <c:pt idx="3">
                  <c:v/>
                </c:pt>
                <c:pt idx="4">
                  <c:v/>
                </c:pt>
              </c:strCache>
            </c:strRef>
          </c:cat>
          <c:val>
            <c:numRef>
              <c:f>Sheet1!$D$2:$D$6</c:f>
              <c:numCache>
                <c:formatCode>General</c:formatCode>
                <c:ptCount val="5"/>
                <c:pt idx="1">
                  <c:v>1467.71</c:v>
                </c:pt>
                <c:pt idx="2">
                  <c:v>1964.31</c:v>
                </c:pt>
                <c:pt idx="3">
                  <c:v>1796.4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7</c:v>
                </c:pt>
                <c:pt idx="2">
                  <c:v/>
                </c:pt>
                <c:pt idx="3">
                  <c:v/>
                </c:pt>
                <c:pt idx="4">
                  <c:v/>
                </c:pt>
              </c:strCache>
            </c:strRef>
          </c:cat>
          <c:val>
            <c:numRef>
              <c:f>Sheet1!$E$2:$E$6</c:f>
              <c:numCache>
                <c:formatCode>General</c:formatCode>
                <c:ptCount val="5"/>
                <c:pt idx="1">
                  <c:v>3881.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57</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798.5"/>
          <c:min val="759.34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25</c:v>
                </c:pt>
                <c:pt idx="2">
                  <c:v/>
                </c:pt>
                <c:pt idx="3">
                  <c:v>IX 0</c:v>
                </c:pt>
                <c:pt idx="4">
                  <c:v/>
                </c:pt>
              </c:strCache>
            </c:strRef>
          </c:cat>
          <c:val>
            <c:numRef>
              <c:f>Sheet1!$B$2:$B$6</c:f>
              <c:numCache>
                <c:formatCode>General</c:formatCode>
                <c:ptCount val="5"/>
                <c:pt idx="0">
                  <c:v>759.84</c:v>
                </c:pt>
                <c:pt idx="1">
                  <c:v>1539.74</c:v>
                </c:pt>
                <c:pt idx="2">
                  <c:v>1974.33</c:v>
                </c:pt>
                <c:pt idx="3">
                  <c:v>1822.29</c:v>
                </c:pt>
                <c:pt idx="4">
                  <c:v>80798.0</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49.41</a:t>
                    </a:r>
                  </a:p>
                </c:rich>
              </c:tx>
              <c:dLblPos val="l"/>
              <c:showLegendKey val="0"/>
              <c:showVal val="1"/>
              <c:showCatName val="0"/>
              <c:showSerName val="0"/>
              <c:showPercent val="0"/>
              <c:showBubbleSize val="0"/>
            </c:dLbl>
            <c:dLbl>
              <c:idx val="1"/>
              <c:tx>
                <c:rich>
                  <a:bodyPr/>
                  <a:lstStyle/>
                  <a:p>
                    <a:r>
                      <a:t>IX 125</a:t>
                    </a:r>
                  </a:p>
                  <a:p>
                    <a:r>
                      <a:t>1828.7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25</c:v>
                </c:pt>
                <c:pt idx="2">
                  <c:v/>
                </c:pt>
                <c:pt idx="3">
                  <c:v>IX 0</c:v>
                </c:pt>
                <c:pt idx="4">
                  <c:v/>
                </c:pt>
              </c:strCache>
            </c:strRef>
          </c:cat>
          <c:val>
            <c:numRef>
              <c:f>Sheet1!$C$2:$C$6</c:f>
              <c:numCache>
                <c:formatCode>General</c:formatCode>
                <c:ptCount val="5"/>
                <c:pt idx="0">
                  <c:v>1449.41</c:v>
                </c:pt>
                <c:pt idx="1">
                  <c:v>1828.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25</c:v>
                </c:pt>
                <c:pt idx="2">
                  <c:v/>
                </c:pt>
                <c:pt idx="3">
                  <c:v>IX 0</c:v>
                </c:pt>
                <c:pt idx="4">
                  <c:v/>
                </c:pt>
              </c:strCache>
            </c:strRef>
          </c:cat>
          <c:val>
            <c:numRef>
              <c:f>Sheet1!$D$2:$D$6</c:f>
              <c:numCache>
                <c:formatCode>General</c:formatCode>
                <c:ptCount val="5"/>
                <c:pt idx="1">
                  <c:v>1467.71</c:v>
                </c:pt>
                <c:pt idx="2">
                  <c:v>1964.31</c:v>
                </c:pt>
                <c:pt idx="3">
                  <c:v>1796.4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25</c:v>
                </c:pt>
                <c:pt idx="2">
                  <c:v/>
                </c:pt>
                <c:pt idx="3">
                  <c:v>IX 0</c:v>
                </c:pt>
                <c:pt idx="4">
                  <c:v/>
                </c:pt>
              </c:strCache>
            </c:strRef>
          </c:cat>
          <c:val>
            <c:numRef>
              <c:f>Sheet1!$E$2:$E$6</c:f>
              <c:numCache>
                <c:formatCode>General</c:formatCode>
                <c:ptCount val="5"/>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00</c:v>
                </c:pt>
                <c:pt idx="1">
                  <c:v>IX 125</c:v>
                </c:pt>
                <c:pt idx="2">
                  <c:v/>
                </c:pt>
                <c:pt idx="3">
                  <c:v>IX 0</c:v>
                </c:pt>
                <c:pt idx="4">
                  <c:v/>
                </c:pt>
              </c:strCache>
            </c:strRef>
          </c:cat>
          <c:val>
            <c:numRef>
              <c:f>Sheet1!$F$2:$F$6</c:f>
              <c:numCache>
                <c:formatCode>General</c:formatCode>
                <c:ptCount val="5"/>
                <c:pt idx="1">
                  <c:v>3881.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0798.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91</c:v>
                </c:pt>
                <c:pt idx="2">
                  <c:v>IX 100</c:v>
                </c:pt>
                <c:pt idx="3">
                  <c:v/>
                </c:pt>
                <c:pt idx="4">
                  <c:v/>
                </c:pt>
              </c:strCache>
            </c:strRef>
          </c:cat>
          <c:val>
            <c:numRef>
              <c:f>Sheet1!$B$2:$B$6</c:f>
              <c:numCache>
                <c:formatCode>General</c:formatCode>
                <c:ptCount val="5"/>
                <c:pt idx="0">
                  <c:v>1877.33</c:v>
                </c:pt>
                <c:pt idx="1">
                  <c:v>1538.62</c:v>
                </c:pt>
                <c:pt idx="2">
                  <c:v>1644.41</c:v>
                </c:pt>
                <c:pt idx="3">
                  <c:v>1854.7</c:v>
                </c:pt>
                <c:pt idx="4">
                  <c:v>12970.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3</a:t>
                    </a:r>
                  </a:p>
                  <a:p>
                    <a:r>
                      <a:t>1254.19</a:t>
                    </a:r>
                  </a:p>
                </c:rich>
              </c:tx>
              <c:dLblPos val="l"/>
              <c:showLegendKey val="0"/>
              <c:showVal val="1"/>
              <c:showCatName val="0"/>
              <c:showSerName val="0"/>
              <c:showPercent val="0"/>
              <c:showBubbleSize val="0"/>
            </c:dLbl>
            <c:dLbl>
              <c:idx val="1"/>
              <c:tx>
                <c:rich>
                  <a:bodyPr/>
                  <a:lstStyle/>
                  <a:p>
                    <a:r>
                      <a:t>IX 91</a:t>
                    </a:r>
                  </a:p>
                  <a:p>
                    <a:r>
                      <a:t>1343.54</a:t>
                    </a:r>
                  </a:p>
                </c:rich>
              </c:tx>
              <c:dLblPos val="l"/>
              <c:showLegendKey val="0"/>
              <c:showVal val="1"/>
              <c:showCatName val="0"/>
              <c:showSerName val="0"/>
              <c:showPercent val="0"/>
              <c:showBubbleSize val="0"/>
            </c:dLbl>
            <c:dLbl>
              <c:idx val="2"/>
              <c:tx>
                <c:rich>
                  <a:bodyPr/>
                  <a:lstStyle/>
                  <a:p>
                    <a:r>
                      <a:t>IX 100</a:t>
                    </a:r>
                  </a:p>
                  <a:p>
                    <a:r>
                      <a:t>1586.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91</c:v>
                </c:pt>
                <c:pt idx="2">
                  <c:v>IX 100</c:v>
                </c:pt>
                <c:pt idx="3">
                  <c:v/>
                </c:pt>
                <c:pt idx="4">
                  <c:v/>
                </c:pt>
              </c:strCache>
            </c:strRef>
          </c:cat>
          <c:val>
            <c:numRef>
              <c:f>Sheet1!$C$2:$C$6</c:f>
              <c:numCache>
                <c:formatCode>General</c:formatCode>
                <c:ptCount val="5"/>
                <c:pt idx="0">
                  <c:v>1254.19</c:v>
                </c:pt>
                <c:pt idx="1">
                  <c:v>1343.54</c:v>
                </c:pt>
                <c:pt idx="2">
                  <c:v>158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91</c:v>
                </c:pt>
                <c:pt idx="2">
                  <c:v>IX 100</c:v>
                </c:pt>
                <c:pt idx="3">
                  <c:v/>
                </c:pt>
                <c:pt idx="4">
                  <c:v/>
                </c:pt>
              </c:strCache>
            </c:strRef>
          </c:cat>
          <c:val>
            <c:numRef>
              <c:f>Sheet1!$D$2:$D$6</c:f>
              <c:numCache>
                <c:formatCode>General</c:formatCode>
                <c:ptCount val="5"/>
                <c:pt idx="0">
                  <c:v>2885.31</c:v>
                </c:pt>
                <c:pt idx="1">
                  <c:v>1476.34</c:v>
                </c:pt>
                <c:pt idx="2">
                  <c:v>1750.12</c:v>
                </c:pt>
                <c:pt idx="3">
                  <c:v>1501.22</c:v>
                </c:pt>
                <c:pt idx="4">
                  <c:v>7349.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91</c:v>
                </c:pt>
                <c:pt idx="2">
                  <c:v>IX 100</c:v>
                </c:pt>
                <c:pt idx="3">
                  <c:v/>
                </c:pt>
                <c:pt idx="4">
                  <c:v/>
                </c:pt>
              </c:strCache>
            </c:strRef>
          </c:cat>
          <c:val>
            <c:numRef>
              <c:f>Sheet1!$E$2:$E$6</c:f>
              <c:numCache>
                <c:formatCode>General</c:formatCode>
                <c:ptCount val="5"/>
                <c:pt idx="0">
                  <c:v>16069.33</c:v>
                </c:pt>
                <c:pt idx="2">
                  <c:v>6397.55</c:v>
                </c:pt>
                <c:pt idx="3">
                  <c:v>2579.04</c:v>
                </c:pt>
                <c:pt idx="4">
                  <c:v>23475.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3</c:v>
                </c:pt>
                <c:pt idx="1">
                  <c:v>IX 91</c:v>
                </c:pt>
                <c:pt idx="2">
                  <c:v>IX 100</c:v>
                </c:pt>
                <c:pt idx="3">
                  <c:v/>
                </c:pt>
                <c:pt idx="4">
                  <c:v/>
                </c:pt>
              </c:strCache>
            </c:strRef>
          </c:cat>
          <c:val>
            <c:numRef>
              <c:f>Sheet1!$F$2:$F$6</c:f>
              <c:numCache>
                <c:formatCode>General</c:formatCode>
                <c:ptCount val="5"/>
                <c:pt idx="0">
                  <c:v>5323.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475.6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86</c:v>
                </c:pt>
                <c:pt idx="2">
                  <c:v>IX 100</c:v>
                </c:pt>
                <c:pt idx="3">
                  <c:v/>
                </c:pt>
                <c:pt idx="4">
                  <c:v>IX 102</c:v>
                </c:pt>
              </c:strCache>
            </c:strRef>
          </c:cat>
          <c:val>
            <c:numRef>
              <c:f>Sheet1!$B$2:$B$6</c:f>
              <c:numCache>
                <c:formatCode>General</c:formatCode>
                <c:ptCount val="5"/>
                <c:pt idx="0">
                  <c:v>1877.33</c:v>
                </c:pt>
                <c:pt idx="1">
                  <c:v>1538.62</c:v>
                </c:pt>
                <c:pt idx="2">
                  <c:v>1644.41</c:v>
                </c:pt>
                <c:pt idx="3">
                  <c:v>1854.7</c:v>
                </c:pt>
                <c:pt idx="4">
                  <c:v>12970.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1</a:t>
                    </a:r>
                  </a:p>
                  <a:p>
                    <a:r>
                      <a:t>1193.02</a:t>
                    </a:r>
                  </a:p>
                </c:rich>
              </c:tx>
              <c:dLblPos val="l"/>
              <c:showLegendKey val="0"/>
              <c:showVal val="1"/>
              <c:showCatName val="0"/>
              <c:showSerName val="0"/>
              <c:showPercent val="0"/>
              <c:showBubbleSize val="0"/>
            </c:dLbl>
            <c:dLbl>
              <c:idx val="1"/>
              <c:tx>
                <c:rich>
                  <a:bodyPr/>
                  <a:lstStyle/>
                  <a:p>
                    <a:r>
                      <a:t>IX 86</a:t>
                    </a:r>
                  </a:p>
                  <a:p>
                    <a:r>
                      <a:t>1263.55</a:t>
                    </a:r>
                  </a:p>
                </c:rich>
              </c:tx>
              <c:dLblPos val="l"/>
              <c:showLegendKey val="0"/>
              <c:showVal val="1"/>
              <c:showCatName val="0"/>
              <c:showSerName val="0"/>
              <c:showPercent val="0"/>
              <c:showBubbleSize val="0"/>
            </c:dLbl>
            <c:dLbl>
              <c:idx val="2"/>
              <c:tx>
                <c:rich>
                  <a:bodyPr/>
                  <a:lstStyle/>
                  <a:p>
                    <a:r>
                      <a:t>IX 100</a:t>
                    </a:r>
                  </a:p>
                  <a:p>
                    <a:r>
                      <a:t>1571.6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2</a:t>
                    </a:r>
                  </a:p>
                  <a:p>
                    <a:r>
                      <a:t>7506.5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86</c:v>
                </c:pt>
                <c:pt idx="2">
                  <c:v>IX 100</c:v>
                </c:pt>
                <c:pt idx="3">
                  <c:v/>
                </c:pt>
                <c:pt idx="4">
                  <c:v>IX 102</c:v>
                </c:pt>
              </c:strCache>
            </c:strRef>
          </c:cat>
          <c:val>
            <c:numRef>
              <c:f>Sheet1!$C$2:$C$6</c:f>
              <c:numCache>
                <c:formatCode>General</c:formatCode>
                <c:ptCount val="5"/>
                <c:pt idx="0">
                  <c:v>1193.02</c:v>
                </c:pt>
                <c:pt idx="1">
                  <c:v>1263.55</c:v>
                </c:pt>
                <c:pt idx="2">
                  <c:v>1571.68</c:v>
                </c:pt>
                <c:pt idx="4">
                  <c:v>7506.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86</c:v>
                </c:pt>
                <c:pt idx="2">
                  <c:v>IX 100</c:v>
                </c:pt>
                <c:pt idx="3">
                  <c:v/>
                </c:pt>
                <c:pt idx="4">
                  <c:v>IX 102</c:v>
                </c:pt>
              </c:strCache>
            </c:strRef>
          </c:cat>
          <c:val>
            <c:numRef>
              <c:f>Sheet1!$D$2:$D$6</c:f>
              <c:numCache>
                <c:formatCode>General</c:formatCode>
                <c:ptCount val="5"/>
                <c:pt idx="0">
                  <c:v>2885.31</c:v>
                </c:pt>
                <c:pt idx="1">
                  <c:v>1476.34</c:v>
                </c:pt>
                <c:pt idx="2">
                  <c:v>1750.12</c:v>
                </c:pt>
                <c:pt idx="3">
                  <c:v>1501.22</c:v>
                </c:pt>
                <c:pt idx="4">
                  <c:v>7349.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86</c:v>
                </c:pt>
                <c:pt idx="2">
                  <c:v>IX 100</c:v>
                </c:pt>
                <c:pt idx="3">
                  <c:v/>
                </c:pt>
                <c:pt idx="4">
                  <c:v>IX 102</c:v>
                </c:pt>
              </c:strCache>
            </c:strRef>
          </c:cat>
          <c:val>
            <c:numRef>
              <c:f>Sheet1!$E$2:$E$6</c:f>
              <c:numCache>
                <c:formatCode>General</c:formatCode>
                <c:ptCount val="5"/>
                <c:pt idx="0">
                  <c:v>16069.33</c:v>
                </c:pt>
                <c:pt idx="2">
                  <c:v>6397.55</c:v>
                </c:pt>
                <c:pt idx="3">
                  <c:v>2579.04</c:v>
                </c:pt>
                <c:pt idx="4">
                  <c:v>23475.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41</c:v>
                </c:pt>
                <c:pt idx="1">
                  <c:v>IX 86</c:v>
                </c:pt>
                <c:pt idx="2">
                  <c:v>IX 100</c:v>
                </c:pt>
                <c:pt idx="3">
                  <c:v/>
                </c:pt>
                <c:pt idx="4">
                  <c:v>IX 102</c:v>
                </c:pt>
              </c:strCache>
            </c:strRef>
          </c:cat>
          <c:val>
            <c:numRef>
              <c:f>Sheet1!$F$2:$F$6</c:f>
              <c:numCache>
                <c:formatCode>General</c:formatCode>
                <c:ptCount val="5"/>
                <c:pt idx="0">
                  <c:v>5323.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475.6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8</c:v>
                </c:pt>
                <c:pt idx="2">
                  <c:v/>
                </c:pt>
                <c:pt idx="3">
                  <c:v/>
                </c:pt>
                <c:pt idx="4">
                  <c:v/>
                </c:pt>
              </c:strCache>
            </c:strRef>
          </c:cat>
          <c:val>
            <c:numRef>
              <c:f>Sheet1!$B$2:$B$6</c:f>
              <c:numCache>
                <c:formatCode>General</c:formatCode>
                <c:ptCount val="5"/>
                <c:pt idx="0">
                  <c:v>1877.33</c:v>
                </c:pt>
                <c:pt idx="1">
                  <c:v>1538.62</c:v>
                </c:pt>
                <c:pt idx="2">
                  <c:v>1644.41</c:v>
                </c:pt>
                <c:pt idx="3">
                  <c:v>1854.7</c:v>
                </c:pt>
                <c:pt idx="4">
                  <c:v>12970.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38</a:t>
                    </a:r>
                  </a:p>
                  <a:p>
                    <a:r>
                      <a:t>499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8</c:v>
                </c:pt>
                <c:pt idx="2">
                  <c:v/>
                </c:pt>
                <c:pt idx="3">
                  <c:v/>
                </c:pt>
                <c:pt idx="4">
                  <c:v/>
                </c:pt>
              </c:strCache>
            </c:strRef>
          </c:cat>
          <c:val>
            <c:numRef>
              <c:f>Sheet1!$C$2:$C$6</c:f>
              <c:numCache>
                <c:formatCode>General</c:formatCode>
                <c:ptCount val="5"/>
                <c:pt idx="1">
                  <c:v>499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8</c:v>
                </c:pt>
                <c:pt idx="2">
                  <c:v/>
                </c:pt>
                <c:pt idx="3">
                  <c:v/>
                </c:pt>
                <c:pt idx="4">
                  <c:v/>
                </c:pt>
              </c:strCache>
            </c:strRef>
          </c:cat>
          <c:val>
            <c:numRef>
              <c:f>Sheet1!$D$2:$D$6</c:f>
              <c:numCache>
                <c:formatCode>General</c:formatCode>
                <c:ptCount val="5"/>
                <c:pt idx="0">
                  <c:v>2885.31</c:v>
                </c:pt>
                <c:pt idx="1">
                  <c:v>1476.34</c:v>
                </c:pt>
                <c:pt idx="2">
                  <c:v>1750.12</c:v>
                </c:pt>
                <c:pt idx="3">
                  <c:v>1501.22</c:v>
                </c:pt>
                <c:pt idx="4">
                  <c:v>7349.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8</c:v>
                </c:pt>
                <c:pt idx="2">
                  <c:v/>
                </c:pt>
                <c:pt idx="3">
                  <c:v/>
                </c:pt>
                <c:pt idx="4">
                  <c:v/>
                </c:pt>
              </c:strCache>
            </c:strRef>
          </c:cat>
          <c:val>
            <c:numRef>
              <c:f>Sheet1!$E$2:$E$6</c:f>
              <c:numCache>
                <c:formatCode>General</c:formatCode>
                <c:ptCount val="5"/>
                <c:pt idx="0">
                  <c:v>16069.33</c:v>
                </c:pt>
                <c:pt idx="2">
                  <c:v>6397.55</c:v>
                </c:pt>
                <c:pt idx="3">
                  <c:v>2579.04</c:v>
                </c:pt>
                <c:pt idx="4">
                  <c:v>23475.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338</c:v>
                </c:pt>
                <c:pt idx="2">
                  <c:v/>
                </c:pt>
                <c:pt idx="3">
                  <c:v/>
                </c:pt>
                <c:pt idx="4">
                  <c:v/>
                </c:pt>
              </c:strCache>
            </c:strRef>
          </c:cat>
          <c:val>
            <c:numRef>
              <c:f>Sheet1!$F$2:$F$6</c:f>
              <c:numCache>
                <c:formatCode>General</c:formatCode>
                <c:ptCount val="5"/>
                <c:pt idx="0">
                  <c:v>5323.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475.6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B$2:$B$5</c:f>
              <c:numCache>
                <c:formatCode>General</c:formatCode>
                <c:ptCount val="4"/>
                <c:pt idx="0">
                  <c:v>1313.01</c:v>
                </c:pt>
                <c:pt idx="3">
                  <c:v>280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57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C$2:$C$5</c:f>
              <c:numCache>
                <c:formatCode>General</c:formatCode>
                <c:ptCount val="4"/>
                <c:pt idx="0">
                  <c:v>157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 Roche-Posay</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D$2:$D$5</c:f>
              <c:numCache>
                <c:formatCode>General</c:formatCode>
                <c:ptCount val="4"/>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
                </c:pt>
                <c:pt idx="2">
                  <c:v/>
                </c:pt>
                <c:pt idx="3">
                  <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09.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
                </c:pt>
              </c:strCache>
            </c:strRef>
          </c:cat>
          <c:val>
            <c:numRef>
              <c:f>Sheet1!$B$2:$B$5</c:f>
              <c:numCache>
                <c:formatCode>General</c:formatCode>
                <c:ptCount val="4"/>
                <c:pt idx="0">
                  <c:v>1891.86</c:v>
                </c:pt>
                <c:pt idx="1">
                  <c:v>1156.51</c:v>
                </c:pt>
                <c:pt idx="2">
                  <c:v>571.8</c:v>
                </c:pt>
                <c:pt idx="3">
                  <c:v>5243.9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76.44</a:t>
                    </a:r>
                  </a:p>
                </c:rich>
              </c:tx>
              <c:dLblPos val="l"/>
              <c:showLegendKey val="0"/>
              <c:showVal val="1"/>
              <c:showCatName val="0"/>
              <c:showSerName val="0"/>
              <c:showPercent val="0"/>
              <c:showBubbleSize val="0"/>
            </c:dLbl>
            <c:dLbl>
              <c:idx val="1"/>
              <c:tx>
                <c:rich>
                  <a:bodyPr/>
                  <a:lstStyle/>
                  <a:p>
                    <a:r>
                      <a:t>IX 100</a:t>
                    </a:r>
                  </a:p>
                  <a:p>
                    <a:r>
                      <a:t>1232.79</a:t>
                    </a:r>
                  </a:p>
                </c:rich>
              </c:tx>
              <c:dLblPos val="l"/>
              <c:showLegendKey val="0"/>
              <c:showVal val="1"/>
              <c:showCatName val="0"/>
              <c:showSerName val="0"/>
              <c:showPercent val="0"/>
              <c:showBubbleSize val="0"/>
            </c:dLbl>
            <c:dLbl>
              <c:idx val="2"/>
              <c:tx>
                <c:rich>
                  <a:bodyPr/>
                  <a:lstStyle/>
                  <a:p>
                    <a:r>
                      <a:t>IX 100</a:t>
                    </a:r>
                  </a:p>
                  <a:p>
                    <a:r>
                      <a:t>751.1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
                </c:pt>
              </c:strCache>
            </c:strRef>
          </c:cat>
          <c:val>
            <c:numRef>
              <c:f>Sheet1!$C$2:$C$5</c:f>
              <c:numCache>
                <c:formatCode>General</c:formatCode>
                <c:ptCount val="4"/>
                <c:pt idx="0">
                  <c:v>1376.44</c:v>
                </c:pt>
                <c:pt idx="1">
                  <c:v>1232.79</c:v>
                </c:pt>
                <c:pt idx="2">
                  <c:v>751.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
                </c:pt>
              </c:strCache>
            </c:strRef>
          </c:cat>
          <c:val>
            <c:numRef>
              <c:f>Sheet1!$D$2:$D$5</c:f>
              <c:numCache>
                <c:formatCode>General</c:formatCode>
                <c:ptCount val="4"/>
                <c:pt idx="0">
                  <c:v>1986.3</c:v>
                </c:pt>
                <c:pt idx="1">
                  <c:v>1378.59</c:v>
                </c:pt>
                <c:pt idx="2">
                  <c:v>609.9</c:v>
                </c:pt>
                <c:pt idx="3">
                  <c:v>1682.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
                </c:pt>
              </c:strCache>
            </c:strRef>
          </c:cat>
          <c:val>
            <c:numRef>
              <c:f>Sheet1!$E$2:$E$5</c:f>
              <c:numCache>
                <c:formatCode>General</c:formatCode>
                <c:ptCount val="4"/>
                <c:pt idx="0">
                  <c:v>3881.58</c:v>
                </c:pt>
                <c:pt idx="3">
                  <c:v>5700.8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
                </c:pt>
              </c:strCache>
            </c:strRef>
          </c:cat>
          <c:val>
            <c:numRef>
              <c:f>Sheet1!$F$2:$F$5</c:f>
              <c:numCache>
                <c:formatCode>General</c:formatCode>
                <c:ptCount val="4"/>
                <c:pt idx="0">
                  <c:v>9205.51</c:v>
                </c:pt>
                <c:pt idx="3">
                  <c:v>9191.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06.006"/>
          <c:min val="571.2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0">
                  <c:v>1313.01</c:v>
                </c:pt>
                <c:pt idx="3">
                  <c:v>2808.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2808.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28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 Roche-Posay</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F$2:$F$5</c:f>
              <c:numCache>
                <c:formatCode>General</c:formatCode>
                <c:ptCount val="4"/>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09.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
                </c:pt>
                <c:pt idx="2">
                  <c:v/>
                </c:pt>
                <c:pt idx="3">
                  <c:v/>
                </c:pt>
                <c:pt idx="4">
                  <c:v/>
                </c:pt>
              </c:strCache>
            </c:strRef>
          </c:cat>
          <c:val>
            <c:numRef>
              <c:f>Sheet1!$B$2:$B$6</c:f>
              <c:numCache>
                <c:formatCode>General</c:formatCode>
                <c:ptCount val="5"/>
                <c:pt idx="0">
                  <c:v>1526.98</c:v>
                </c:pt>
                <c:pt idx="1">
                  <c:v>820.76</c:v>
                </c:pt>
                <c:pt idx="2">
                  <c:v>2024.2</c:v>
                </c:pt>
                <c:pt idx="3">
                  <c:v>1621.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840.8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
                </c:pt>
                <c:pt idx="2">
                  <c:v/>
                </c:pt>
                <c:pt idx="3">
                  <c:v/>
                </c:pt>
                <c:pt idx="4">
                  <c:v/>
                </c:pt>
              </c:strCache>
            </c:strRef>
          </c:cat>
          <c:val>
            <c:numRef>
              <c:f>Sheet1!$C$2:$C$6</c:f>
              <c:numCache>
                <c:formatCode>General</c:formatCode>
                <c:ptCount val="5"/>
                <c:pt idx="0">
                  <c:v>840.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
                </c:pt>
                <c:pt idx="2">
                  <c:v/>
                </c:pt>
                <c:pt idx="3">
                  <c:v/>
                </c:pt>
                <c:pt idx="4">
                  <c:v/>
                </c:pt>
              </c:strCache>
            </c:strRef>
          </c:cat>
          <c:val>
            <c:numRef>
              <c:f>Sheet1!$D$2:$D$6</c:f>
              <c:numCache>
                <c:formatCode>General</c:formatCode>
                <c:ptCount val="5"/>
                <c:pt idx="0">
                  <c:v>1497.46</c:v>
                </c:pt>
                <c:pt idx="2">
                  <c:v>2024.2</c:v>
                </c:pt>
                <c:pt idx="3">
                  <c:v>1604.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
                </c:pt>
                <c:pt idx="2">
                  <c:v/>
                </c:pt>
                <c:pt idx="3">
                  <c:v/>
                </c:pt>
                <c:pt idx="4">
                  <c:v/>
                </c:pt>
              </c:strCache>
            </c:strRef>
          </c:cat>
          <c:val>
            <c:numRef>
              <c:f>Sheet1!$E$2:$E$6</c:f>
              <c:numCache>
                <c:formatCode>General</c:formatCode>
                <c:ptCount val="5"/>
                <c:pt idx="0">
                  <c:v>3820.6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56</c:v>
                </c:pt>
                <c:pt idx="1">
                  <c:v/>
                </c:pt>
                <c:pt idx="2">
                  <c:v/>
                </c:pt>
                <c:pt idx="3">
                  <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21.1667"/>
          <c:min val="820.26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
                </c:pt>
                <c:pt idx="3">
                  <c:v>IX 138</c:v>
                </c:pt>
                <c:pt idx="4">
                  <c:v/>
                </c:pt>
              </c:strCache>
            </c:strRef>
          </c:cat>
          <c:val>
            <c:numRef>
              <c:f>Sheet1!$B$2:$B$6</c:f>
              <c:numCache>
                <c:formatCode>General</c:formatCode>
                <c:ptCount val="5"/>
                <c:pt idx="0">
                  <c:v>1526.98</c:v>
                </c:pt>
                <c:pt idx="1">
                  <c:v>820.76</c:v>
                </c:pt>
                <c:pt idx="2">
                  <c:v>2024.2</c:v>
                </c:pt>
                <c:pt idx="3">
                  <c:v>1621.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6</a:t>
                    </a:r>
                  </a:p>
                  <a:p>
                    <a:r>
                      <a:t>1881.0</a:t>
                    </a:r>
                  </a:p>
                </c:rich>
              </c:tx>
              <c:dLblPos val="l"/>
              <c:showLegendKey val="0"/>
              <c:showVal val="1"/>
              <c:showCatName val="0"/>
              <c:showSerName val="0"/>
              <c:showPercent val="0"/>
              <c:showBubbleSize val="0"/>
            </c:dLbl>
            <c:dLbl>
              <c:idx val="1"/>
              <c:tx>
                <c:rich>
                  <a:bodyPr/>
                  <a:lstStyle/>
                  <a:p>
                    <a:r>
                      <a:t>IX 100</a:t>
                    </a:r>
                  </a:p>
                  <a:p>
                    <a:r>
                      <a:t>1413.6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38</a:t>
                    </a:r>
                  </a:p>
                  <a:p>
                    <a:r>
                      <a:t>221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
                </c:pt>
                <c:pt idx="3">
                  <c:v>IX 138</c:v>
                </c:pt>
                <c:pt idx="4">
                  <c:v/>
                </c:pt>
              </c:strCache>
            </c:strRef>
          </c:cat>
          <c:val>
            <c:numRef>
              <c:f>Sheet1!$C$2:$C$6</c:f>
              <c:numCache>
                <c:formatCode>General</c:formatCode>
                <c:ptCount val="5"/>
                <c:pt idx="0">
                  <c:v>1881.0</c:v>
                </c:pt>
                <c:pt idx="1">
                  <c:v>1413.62</c:v>
                </c:pt>
                <c:pt idx="3">
                  <c:v>221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
                </c:pt>
                <c:pt idx="3">
                  <c:v>IX 138</c:v>
                </c:pt>
                <c:pt idx="4">
                  <c:v/>
                </c:pt>
              </c:strCache>
            </c:strRef>
          </c:cat>
          <c:val>
            <c:numRef>
              <c:f>Sheet1!$D$2:$D$6</c:f>
              <c:numCache>
                <c:formatCode>General</c:formatCode>
                <c:ptCount val="5"/>
                <c:pt idx="0">
                  <c:v>1497.46</c:v>
                </c:pt>
                <c:pt idx="2">
                  <c:v>2024.2</c:v>
                </c:pt>
                <c:pt idx="3">
                  <c:v>1604.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ve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
                </c:pt>
                <c:pt idx="3">
                  <c:v>IX 138</c:v>
                </c:pt>
                <c:pt idx="4">
                  <c:v/>
                </c:pt>
              </c:strCache>
            </c:strRef>
          </c:cat>
          <c:val>
            <c:numRef>
              <c:f>Sheet1!$E$2:$E$6</c:f>
              <c:numCache>
                <c:formatCode>General</c:formatCode>
                <c:ptCount val="5"/>
                <c:pt idx="0">
                  <c:v>3820.6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126</c:v>
                </c:pt>
                <c:pt idx="1">
                  <c:v>IX 100</c:v>
                </c:pt>
                <c:pt idx="2">
                  <c:v/>
                </c:pt>
                <c:pt idx="3">
                  <c:v>IX 138</c:v>
                </c:pt>
                <c:pt idx="4">
                  <c:v/>
                </c:pt>
              </c:strCache>
            </c:strRef>
          </c:cat>
          <c:val>
            <c:numRef>
              <c:f>Sheet1!$F$2:$F$6</c:f>
              <c:numCache>
                <c:formatCode>General</c:formatCode>
                <c:ptCount val="5"/>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21.1667"/>
          <c:min val="820.26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B$2:$B$5</c:f>
              <c:numCache>
                <c:formatCode>General</c:formatCode>
                <c:ptCount val="4"/>
                <c:pt idx="0">
                  <c:v>1379.99</c:v>
                </c:pt>
                <c:pt idx="1">
                  <c:v>1175.47</c:v>
                </c:pt>
                <c:pt idx="2">
                  <c:v>631.64</c:v>
                </c:pt>
                <c:pt idx="3">
                  <c:v>1565.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208.82</a:t>
                    </a:r>
                  </a:p>
                </c:rich>
              </c:tx>
              <c:dLblPos val="l"/>
              <c:showLegendKey val="0"/>
              <c:showVal val="1"/>
              <c:showCatName val="0"/>
              <c:showSerName val="0"/>
              <c:showPercent val="0"/>
              <c:showBubbleSize val="0"/>
            </c:dLbl>
            <c:dLbl>
              <c:idx val="1"/>
              <c:tx>
                <c:rich>
                  <a:bodyPr/>
                  <a:lstStyle/>
                  <a:p>
                    <a:r>
                      <a:t>IX 100</a:t>
                    </a:r>
                  </a:p>
                  <a:p>
                    <a:r>
                      <a:t>1118.9</a:t>
                    </a:r>
                  </a:p>
                </c:rich>
              </c:tx>
              <c:dLblPos val="l"/>
              <c:showLegendKey val="0"/>
              <c:showVal val="1"/>
              <c:showCatName val="0"/>
              <c:showSerName val="0"/>
              <c:showPercent val="0"/>
              <c:showBubbleSize val="0"/>
            </c:dLbl>
            <c:dLbl>
              <c:idx val="2"/>
              <c:tx>
                <c:rich>
                  <a:bodyPr/>
                  <a:lstStyle/>
                  <a:p>
                    <a:r>
                      <a:t>IX 100</a:t>
                    </a:r>
                  </a:p>
                  <a:p>
                    <a:r>
                      <a:t>546.5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C$2:$C$5</c:f>
              <c:numCache>
                <c:formatCode>General</c:formatCode>
                <c:ptCount val="4"/>
                <c:pt idx="0">
                  <c:v>1208.82</c:v>
                </c:pt>
                <c:pt idx="1">
                  <c:v>1118.9</c:v>
                </c:pt>
                <c:pt idx="2">
                  <c:v>546.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D$2:$D$5</c:f>
              <c:numCache>
                <c:formatCode>General</c:formatCode>
                <c:ptCount val="4"/>
                <c:pt idx="0">
                  <c:v>1583.09</c:v>
                </c:pt>
                <c:pt idx="1">
                  <c:v>1215.65</c:v>
                </c:pt>
                <c:pt idx="2">
                  <c:v>586.2</c:v>
                </c:pt>
                <c:pt idx="3">
                  <c:v>12943.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J&amp;J</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E$2:$E$5</c:f>
              <c:numCache>
                <c:formatCode>General</c:formatCode>
                <c:ptCount val="4"/>
                <c:pt idx="0">
                  <c:v>2876.15</c:v>
                </c:pt>
                <c:pt idx="3">
                  <c:v>5419.3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6</c:v>
                </c:pt>
                <c:pt idx="1">
                  <c:v>IX 100</c:v>
                </c:pt>
                <c:pt idx="2">
                  <c:v>IX 100</c:v>
                </c:pt>
                <c:pt idx="3">
                  <c:v/>
                </c:pt>
              </c:strCache>
            </c:strRef>
          </c:cat>
          <c:val>
            <c:numRef>
              <c:f>Sheet1!$F$2:$F$5</c:f>
              <c:numCache>
                <c:formatCode>General</c:formatCode>
                <c:ptCount val="4"/>
                <c:pt idx="0">
                  <c:v>1848.2</c:v>
                </c:pt>
                <c:pt idx="1">
                  <c:v>1151.24</c:v>
                </c:pt>
                <c:pt idx="2">
                  <c:v>929.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943.5"/>
          <c:min val="546.00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73</c:v>
                </c:pt>
                <c:pt idx="2">
                  <c:v>IX 100</c:v>
                </c:pt>
                <c:pt idx="3">
                  <c:v>IX 5</c:v>
                </c:pt>
              </c:strCache>
            </c:strRef>
          </c:cat>
          <c:val>
            <c:numRef>
              <c:f>Sheet1!$B$2:$B$5</c:f>
              <c:numCache>
                <c:formatCode>General</c:formatCode>
                <c:ptCount val="4"/>
                <c:pt idx="0">
                  <c:v>1891.86</c:v>
                </c:pt>
                <c:pt idx="1">
                  <c:v>1156.51</c:v>
                </c:pt>
                <c:pt idx="2">
                  <c:v>571.8</c:v>
                </c:pt>
                <c:pt idx="3">
                  <c:v>5243.9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353.65</a:t>
                    </a:r>
                  </a:p>
                </c:rich>
              </c:tx>
              <c:dLblPos val="l"/>
              <c:showLegendKey val="0"/>
              <c:showVal val="1"/>
              <c:showCatName val="0"/>
              <c:showSerName val="0"/>
              <c:showPercent val="0"/>
              <c:showBubbleSize val="0"/>
            </c:dLbl>
            <c:dLbl>
              <c:idx val="1"/>
              <c:tx>
                <c:rich>
                  <a:bodyPr/>
                  <a:lstStyle/>
                  <a:p>
                    <a:r>
                      <a:t>IX 73</a:t>
                    </a:r>
                  </a:p>
                  <a:p>
                    <a:r>
                      <a:t>1012.75</a:t>
                    </a:r>
                  </a:p>
                </c:rich>
              </c:tx>
              <c:dLblPos val="l"/>
              <c:showLegendKey val="0"/>
              <c:showVal val="1"/>
              <c:showCatName val="0"/>
              <c:showSerName val="0"/>
              <c:showPercent val="0"/>
              <c:showBubbleSize val="0"/>
            </c:dLbl>
            <c:dLbl>
              <c:idx val="2"/>
              <c:tx>
                <c:rich>
                  <a:bodyPr/>
                  <a:lstStyle/>
                  <a:p>
                    <a:r>
                      <a:t>IX 100</a:t>
                    </a:r>
                  </a:p>
                  <a:p>
                    <a:r>
                      <a:t>447.89</a:t>
                    </a:r>
                  </a:p>
                </c:rich>
              </c:tx>
              <c:dLblPos val="l"/>
              <c:showLegendKey val="0"/>
              <c:showVal val="1"/>
              <c:showCatName val="0"/>
              <c:showSerName val="0"/>
              <c:showPercent val="0"/>
              <c:showBubbleSize val="0"/>
            </c:dLbl>
            <c:dLbl>
              <c:idx val="3"/>
              <c:tx>
                <c:rich>
                  <a:bodyPr/>
                  <a:lstStyle/>
                  <a:p>
                    <a:r>
                      <a:t>IX 5</a:t>
                    </a:r>
                  </a:p>
                  <a:p>
                    <a:r>
                      <a:t>257.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73</c:v>
                </c:pt>
                <c:pt idx="2">
                  <c:v>IX 100</c:v>
                </c:pt>
                <c:pt idx="3">
                  <c:v>IX 5</c:v>
                </c:pt>
              </c:strCache>
            </c:strRef>
          </c:cat>
          <c:val>
            <c:numRef>
              <c:f>Sheet1!$C$2:$C$5</c:f>
              <c:numCache>
                <c:formatCode>General</c:formatCode>
                <c:ptCount val="4"/>
                <c:pt idx="0">
                  <c:v>1353.65</c:v>
                </c:pt>
                <c:pt idx="1">
                  <c:v>1012.75</c:v>
                </c:pt>
                <c:pt idx="2">
                  <c:v>447.89</c:v>
                </c:pt>
                <c:pt idx="3">
                  <c:v>257.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73</c:v>
                </c:pt>
                <c:pt idx="2">
                  <c:v>IX 100</c:v>
                </c:pt>
                <c:pt idx="3">
                  <c:v>IX 5</c:v>
                </c:pt>
              </c:strCache>
            </c:strRef>
          </c:cat>
          <c:val>
            <c:numRef>
              <c:f>Sheet1!$D$2:$D$5</c:f>
              <c:numCache>
                <c:formatCode>General</c:formatCode>
                <c:ptCount val="4"/>
                <c:pt idx="0">
                  <c:v>1986.3</c:v>
                </c:pt>
                <c:pt idx="1">
                  <c:v>1378.59</c:v>
                </c:pt>
                <c:pt idx="2">
                  <c:v>609.9</c:v>
                </c:pt>
                <c:pt idx="3">
                  <c:v>1682.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73</c:v>
                </c:pt>
                <c:pt idx="2">
                  <c:v>IX 100</c:v>
                </c:pt>
                <c:pt idx="3">
                  <c:v>IX 5</c:v>
                </c:pt>
              </c:strCache>
            </c:strRef>
          </c:cat>
          <c:val>
            <c:numRef>
              <c:f>Sheet1!$E$2:$E$5</c:f>
              <c:numCache>
                <c:formatCode>General</c:formatCode>
                <c:ptCount val="4"/>
                <c:pt idx="0">
                  <c:v>3881.58</c:v>
                </c:pt>
                <c:pt idx="3">
                  <c:v>5700.8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8</c:v>
                </c:pt>
                <c:pt idx="1">
                  <c:v>IX 73</c:v>
                </c:pt>
                <c:pt idx="2">
                  <c:v>IX 100</c:v>
                </c:pt>
                <c:pt idx="3">
                  <c:v>IX 5</c:v>
                </c:pt>
              </c:strCache>
            </c:strRef>
          </c:cat>
          <c:val>
            <c:numRef>
              <c:f>Sheet1!$F$2:$F$5</c:f>
              <c:numCache>
                <c:formatCode>General</c:formatCode>
                <c:ptCount val="4"/>
                <c:pt idx="0">
                  <c:v>9205.51</c:v>
                </c:pt>
                <c:pt idx="3">
                  <c:v>9191.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06.006"/>
          <c:min val="257.16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4</c:v>
                </c:pt>
                <c:pt idx="1">
                  <c:v/>
                </c:pt>
                <c:pt idx="2">
                  <c:v/>
                </c:pt>
                <c:pt idx="3">
                  <c:v/>
                </c:pt>
              </c:strCache>
            </c:strRef>
          </c:cat>
          <c:val>
            <c:numRef>
              <c:f>Sheet1!$B$2:$B$5</c:f>
              <c:numCache>
                <c:formatCode>General</c:formatCode>
                <c:ptCount val="4"/>
                <c:pt idx="0">
                  <c:v>1891.86</c:v>
                </c:pt>
                <c:pt idx="1">
                  <c:v>1156.51</c:v>
                </c:pt>
                <c:pt idx="2">
                  <c:v>571.8</c:v>
                </c:pt>
                <c:pt idx="3">
                  <c:v>5243.9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4</a:t>
                    </a:r>
                  </a:p>
                  <a:p>
                    <a:r>
                      <a:t>5051.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4</c:v>
                </c:pt>
                <c:pt idx="1">
                  <c:v/>
                </c:pt>
                <c:pt idx="2">
                  <c:v/>
                </c:pt>
                <c:pt idx="3">
                  <c:v/>
                </c:pt>
              </c:strCache>
            </c:strRef>
          </c:cat>
          <c:val>
            <c:numRef>
              <c:f>Sheet1!$C$2:$C$5</c:f>
              <c:numCache>
                <c:formatCode>General</c:formatCode>
                <c:ptCount val="4"/>
                <c:pt idx="0">
                  <c:v>5051.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4</c:v>
                </c:pt>
                <c:pt idx="1">
                  <c:v/>
                </c:pt>
                <c:pt idx="2">
                  <c:v/>
                </c:pt>
                <c:pt idx="3">
                  <c:v/>
                </c:pt>
              </c:strCache>
            </c:strRef>
          </c:cat>
          <c:val>
            <c:numRef>
              <c:f>Sheet1!$D$2:$D$5</c:f>
              <c:numCache>
                <c:formatCode>General</c:formatCode>
                <c:ptCount val="4"/>
                <c:pt idx="0">
                  <c:v>1986.3</c:v>
                </c:pt>
                <c:pt idx="1">
                  <c:v>1378.59</c:v>
                </c:pt>
                <c:pt idx="2">
                  <c:v>609.9</c:v>
                </c:pt>
                <c:pt idx="3">
                  <c:v>1682.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4</c:v>
                </c:pt>
                <c:pt idx="1">
                  <c:v/>
                </c:pt>
                <c:pt idx="2">
                  <c:v/>
                </c:pt>
                <c:pt idx="3">
                  <c:v/>
                </c:pt>
              </c:strCache>
            </c:strRef>
          </c:cat>
          <c:val>
            <c:numRef>
              <c:f>Sheet1!$E$2:$E$5</c:f>
              <c:numCache>
                <c:formatCode>General</c:formatCode>
                <c:ptCount val="4"/>
                <c:pt idx="0">
                  <c:v>3881.58</c:v>
                </c:pt>
                <c:pt idx="3">
                  <c:v>5700.8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4</c:v>
                </c:pt>
                <c:pt idx="1">
                  <c:v/>
                </c:pt>
                <c:pt idx="2">
                  <c:v/>
                </c:pt>
                <c:pt idx="3">
                  <c:v/>
                </c:pt>
              </c:strCache>
            </c:strRef>
          </c:cat>
          <c:val>
            <c:numRef>
              <c:f>Sheet1!$F$2:$F$5</c:f>
              <c:numCache>
                <c:formatCode>General</c:formatCode>
                <c:ptCount val="4"/>
                <c:pt idx="0">
                  <c:v>9205.51</c:v>
                </c:pt>
                <c:pt idx="3">
                  <c:v>9191.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06.006"/>
          <c:min val="571.2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5</c:v>
                </c:pt>
                <c:pt idx="1">
                  <c:v/>
                </c:pt>
                <c:pt idx="2">
                  <c:v>IX 100</c:v>
                </c:pt>
                <c:pt idx="3">
                  <c:v>IX 100</c:v>
                </c:pt>
              </c:strCache>
            </c:strRef>
          </c:cat>
          <c:val>
            <c:numRef>
              <c:f>Sheet1!$B$2:$B$5</c:f>
              <c:numCache>
                <c:formatCode>General</c:formatCode>
                <c:ptCount val="4"/>
                <c:pt idx="0">
                  <c:v>2232.59</c:v>
                </c:pt>
                <c:pt idx="1">
                  <c:v>6513.71</c:v>
                </c:pt>
                <c:pt idx="2">
                  <c:v>1202.76</c:v>
                </c:pt>
                <c:pt idx="3">
                  <c:v>587.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1291.8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95.77</a:t>
                    </a:r>
                  </a:p>
                </c:rich>
              </c:tx>
              <c:dLblPos val="l"/>
              <c:showLegendKey val="0"/>
              <c:showVal val="1"/>
              <c:showCatName val="0"/>
              <c:showSerName val="0"/>
              <c:showPercent val="0"/>
              <c:showBubbleSize val="0"/>
            </c:dLbl>
            <c:dLbl>
              <c:idx val="3"/>
              <c:tx>
                <c:rich>
                  <a:bodyPr/>
                  <a:lstStyle/>
                  <a:p>
                    <a:r>
                      <a:t>IX 100</a:t>
                    </a:r>
                  </a:p>
                  <a:p>
                    <a:r>
                      <a:t>73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5</c:v>
                </c:pt>
                <c:pt idx="1">
                  <c:v/>
                </c:pt>
                <c:pt idx="2">
                  <c:v>IX 100</c:v>
                </c:pt>
                <c:pt idx="3">
                  <c:v>IX 100</c:v>
                </c:pt>
              </c:strCache>
            </c:strRef>
          </c:cat>
          <c:val>
            <c:numRef>
              <c:f>Sheet1!$C$2:$C$5</c:f>
              <c:numCache>
                <c:formatCode>General</c:formatCode>
                <c:ptCount val="4"/>
                <c:pt idx="0">
                  <c:v>1291.81</c:v>
                </c:pt>
                <c:pt idx="2">
                  <c:v>1195.77</c:v>
                </c:pt>
                <c:pt idx="3">
                  <c:v>73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5</c:v>
                </c:pt>
                <c:pt idx="1">
                  <c:v/>
                </c:pt>
                <c:pt idx="2">
                  <c:v>IX 100</c:v>
                </c:pt>
                <c:pt idx="3">
                  <c:v>IX 100</c:v>
                </c:pt>
              </c:strCache>
            </c:strRef>
          </c:cat>
          <c:val>
            <c:numRef>
              <c:f>Sheet1!$D$2:$D$5</c:f>
              <c:numCache>
                <c:formatCode>General</c:formatCode>
                <c:ptCount val="4"/>
                <c:pt idx="0">
                  <c:v>1983.25</c:v>
                </c:pt>
                <c:pt idx="1">
                  <c:v>1958.4</c:v>
                </c:pt>
                <c:pt idx="2">
                  <c:v>1367.72</c:v>
                </c:pt>
                <c:pt idx="3">
                  <c:v>589.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5</c:v>
                </c:pt>
                <c:pt idx="1">
                  <c:v/>
                </c:pt>
                <c:pt idx="2">
                  <c:v>IX 100</c:v>
                </c:pt>
                <c:pt idx="3">
                  <c:v>IX 100</c:v>
                </c:pt>
              </c:strCache>
            </c:strRef>
          </c:cat>
          <c:val>
            <c:numRef>
              <c:f>Sheet1!$E$2:$E$5</c:f>
              <c:numCache>
                <c:formatCode>General</c:formatCode>
                <c:ptCount val="4"/>
                <c:pt idx="0">
                  <c:v>10088.74</c:v>
                </c:pt>
                <c:pt idx="1">
                  <c:v>11664.66</c:v>
                </c:pt>
                <c:pt idx="3">
                  <c:v>327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5</c:v>
                </c:pt>
                <c:pt idx="1">
                  <c:v/>
                </c:pt>
                <c:pt idx="2">
                  <c:v>IX 100</c:v>
                </c:pt>
                <c:pt idx="3">
                  <c:v>IX 100</c:v>
                </c:pt>
              </c:strCache>
            </c:strRef>
          </c:cat>
          <c:val>
            <c:numRef>
              <c:f>Sheet1!$F$2:$F$5</c:f>
              <c:numCache>
                <c:formatCode>General</c:formatCode>
                <c:ptCount val="4"/>
                <c:pt idx="0">
                  <c:v>7257.61</c:v>
                </c:pt>
                <c:pt idx="1">
                  <c:v>8336.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665.155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c:v>
                </c:pt>
                <c:pt idx="2">
                  <c:v>IX 72</c:v>
                </c:pt>
                <c:pt idx="3">
                  <c:v>IX 100</c:v>
                </c:pt>
              </c:strCache>
            </c:strRef>
          </c:cat>
          <c:val>
            <c:numRef>
              <c:f>Sheet1!$B$2:$B$5</c:f>
              <c:numCache>
                <c:formatCode>General</c:formatCode>
                <c:ptCount val="4"/>
                <c:pt idx="0">
                  <c:v>2232.59</c:v>
                </c:pt>
                <c:pt idx="1">
                  <c:v>6513.71</c:v>
                </c:pt>
                <c:pt idx="2">
                  <c:v>1202.76</c:v>
                </c:pt>
                <c:pt idx="3">
                  <c:v>587.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1330.82</a:t>
                    </a:r>
                  </a:p>
                </c:rich>
              </c:tx>
              <c:dLblPos val="l"/>
              <c:showLegendKey val="0"/>
              <c:showVal val="1"/>
              <c:showCatName val="0"/>
              <c:showSerName val="0"/>
              <c:showPercent val="0"/>
              <c:showBubbleSize val="0"/>
            </c:dLbl>
            <c:dLbl>
              <c:idx val="1"/>
              <c:tx>
                <c:rich>
                  <a:bodyPr/>
                  <a:lstStyle/>
                  <a:p>
                    <a:r>
                      <a:t>IX 10</a:t>
                    </a:r>
                  </a:p>
                  <a:p>
                    <a:r>
                      <a:t>1159.14</a:t>
                    </a:r>
                  </a:p>
                </c:rich>
              </c:tx>
              <c:dLblPos val="l"/>
              <c:showLegendKey val="0"/>
              <c:showVal val="1"/>
              <c:showCatName val="0"/>
              <c:showSerName val="0"/>
              <c:showPercent val="0"/>
              <c:showBubbleSize val="0"/>
            </c:dLbl>
            <c:dLbl>
              <c:idx val="2"/>
              <c:tx>
                <c:rich>
                  <a:bodyPr/>
                  <a:lstStyle/>
                  <a:p>
                    <a:r>
                      <a:t>IX 72</a:t>
                    </a:r>
                  </a:p>
                  <a:p>
                    <a:r>
                      <a:t>990.42</a:t>
                    </a:r>
                  </a:p>
                </c:rich>
              </c:tx>
              <c:dLblPos val="l"/>
              <c:showLegendKey val="0"/>
              <c:showVal val="1"/>
              <c:showCatName val="0"/>
              <c:showSerName val="0"/>
              <c:showPercent val="0"/>
              <c:showBubbleSize val="0"/>
            </c:dLbl>
            <c:dLbl>
              <c:idx val="3"/>
              <c:tx>
                <c:rich>
                  <a:bodyPr/>
                  <a:lstStyle/>
                  <a:p>
                    <a:r>
                      <a:t>IX 100</a:t>
                    </a:r>
                  </a:p>
                  <a:p>
                    <a:r>
                      <a:t>509.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c:v>
                </c:pt>
                <c:pt idx="2">
                  <c:v>IX 72</c:v>
                </c:pt>
                <c:pt idx="3">
                  <c:v>IX 100</c:v>
                </c:pt>
              </c:strCache>
            </c:strRef>
          </c:cat>
          <c:val>
            <c:numRef>
              <c:f>Sheet1!$C$2:$C$5</c:f>
              <c:numCache>
                <c:formatCode>General</c:formatCode>
                <c:ptCount val="4"/>
                <c:pt idx="0">
                  <c:v>1330.82</c:v>
                </c:pt>
                <c:pt idx="1">
                  <c:v>1159.14</c:v>
                </c:pt>
                <c:pt idx="2">
                  <c:v>990.42</c:v>
                </c:pt>
                <c:pt idx="3">
                  <c:v>509.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c:v>
                </c:pt>
                <c:pt idx="2">
                  <c:v>IX 72</c:v>
                </c:pt>
                <c:pt idx="3">
                  <c:v>IX 100</c:v>
                </c:pt>
              </c:strCache>
            </c:strRef>
          </c:cat>
          <c:val>
            <c:numRef>
              <c:f>Sheet1!$D$2:$D$5</c:f>
              <c:numCache>
                <c:formatCode>General</c:formatCode>
                <c:ptCount val="4"/>
                <c:pt idx="0">
                  <c:v>1983.25</c:v>
                </c:pt>
                <c:pt idx="1">
                  <c:v>1958.4</c:v>
                </c:pt>
                <c:pt idx="2">
                  <c:v>1367.72</c:v>
                </c:pt>
                <c:pt idx="3">
                  <c:v>589.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c:v>
                </c:pt>
                <c:pt idx="2">
                  <c:v>IX 72</c:v>
                </c:pt>
                <c:pt idx="3">
                  <c:v>IX 100</c:v>
                </c:pt>
              </c:strCache>
            </c:strRef>
          </c:cat>
          <c:val>
            <c:numRef>
              <c:f>Sheet1!$E$2:$E$5</c:f>
              <c:numCache>
                <c:formatCode>General</c:formatCode>
                <c:ptCount val="4"/>
                <c:pt idx="0">
                  <c:v>10088.74</c:v>
                </c:pt>
                <c:pt idx="1">
                  <c:v>11664.66</c:v>
                </c:pt>
                <c:pt idx="3">
                  <c:v>327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7</c:v>
                </c:pt>
                <c:pt idx="1">
                  <c:v>IX 10</c:v>
                </c:pt>
                <c:pt idx="2">
                  <c:v>IX 72</c:v>
                </c:pt>
                <c:pt idx="3">
                  <c:v>IX 100</c:v>
                </c:pt>
              </c:strCache>
            </c:strRef>
          </c:cat>
          <c:val>
            <c:numRef>
              <c:f>Sheet1!$F$2:$F$5</c:f>
              <c:numCache>
                <c:formatCode>General</c:formatCode>
                <c:ptCount val="4"/>
                <c:pt idx="0">
                  <c:v>7257.61</c:v>
                </c:pt>
                <c:pt idx="1">
                  <c:v>8336.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665.155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5</c:v>
                </c:pt>
                <c:pt idx="1">
                  <c:v/>
                </c:pt>
                <c:pt idx="2">
                  <c:v/>
                </c:pt>
                <c:pt idx="3">
                  <c:v/>
                </c:pt>
              </c:strCache>
            </c:strRef>
          </c:cat>
          <c:val>
            <c:numRef>
              <c:f>Sheet1!$B$2:$B$5</c:f>
              <c:numCache>
                <c:formatCode>General</c:formatCode>
                <c:ptCount val="4"/>
                <c:pt idx="0">
                  <c:v>2232.59</c:v>
                </c:pt>
                <c:pt idx="1">
                  <c:v>6513.71</c:v>
                </c:pt>
                <c:pt idx="2">
                  <c:v>1202.76</c:v>
                </c:pt>
                <c:pt idx="3">
                  <c:v>587.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5</a:t>
                    </a:r>
                  </a:p>
                  <a:p>
                    <a:r>
                      <a:t>4864.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5</c:v>
                </c:pt>
                <c:pt idx="1">
                  <c:v/>
                </c:pt>
                <c:pt idx="2">
                  <c:v/>
                </c:pt>
                <c:pt idx="3">
                  <c:v/>
                </c:pt>
              </c:strCache>
            </c:strRef>
          </c:cat>
          <c:val>
            <c:numRef>
              <c:f>Sheet1!$C$2:$C$5</c:f>
              <c:numCache>
                <c:formatCode>General</c:formatCode>
                <c:ptCount val="4"/>
                <c:pt idx="0">
                  <c:v>4864.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5</c:v>
                </c:pt>
                <c:pt idx="1">
                  <c:v/>
                </c:pt>
                <c:pt idx="2">
                  <c:v/>
                </c:pt>
                <c:pt idx="3">
                  <c:v/>
                </c:pt>
              </c:strCache>
            </c:strRef>
          </c:cat>
          <c:val>
            <c:numRef>
              <c:f>Sheet1!$D$2:$D$5</c:f>
              <c:numCache>
                <c:formatCode>General</c:formatCode>
                <c:ptCount val="4"/>
                <c:pt idx="0">
                  <c:v>1983.25</c:v>
                </c:pt>
                <c:pt idx="1">
                  <c:v>1958.4</c:v>
                </c:pt>
                <c:pt idx="2">
                  <c:v>1367.72</c:v>
                </c:pt>
                <c:pt idx="3">
                  <c:v>589.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5</c:v>
                </c:pt>
                <c:pt idx="1">
                  <c:v/>
                </c:pt>
                <c:pt idx="2">
                  <c:v/>
                </c:pt>
                <c:pt idx="3">
                  <c:v/>
                </c:pt>
              </c:strCache>
            </c:strRef>
          </c:cat>
          <c:val>
            <c:numRef>
              <c:f>Sheet1!$E$2:$E$5</c:f>
              <c:numCache>
                <c:formatCode>General</c:formatCode>
                <c:ptCount val="4"/>
                <c:pt idx="0">
                  <c:v>10088.74</c:v>
                </c:pt>
                <c:pt idx="1">
                  <c:v>11664.66</c:v>
                </c:pt>
                <c:pt idx="3">
                  <c:v>327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45</c:v>
                </c:pt>
                <c:pt idx="1">
                  <c:v/>
                </c:pt>
                <c:pt idx="2">
                  <c:v/>
                </c:pt>
                <c:pt idx="3">
                  <c:v/>
                </c:pt>
              </c:strCache>
            </c:strRef>
          </c:cat>
          <c:val>
            <c:numRef>
              <c:f>Sheet1!$F$2:$F$5</c:f>
              <c:numCache>
                <c:formatCode>General</c:formatCode>
                <c:ptCount val="4"/>
                <c:pt idx="0">
                  <c:v>7257.61</c:v>
                </c:pt>
                <c:pt idx="1">
                  <c:v>8336.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665.155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B$2:$B$5</c:f>
              <c:numCache>
                <c:formatCode>General</c:formatCode>
                <c:ptCount val="4"/>
                <c:pt idx="0">
                  <c:v>1556.59</c:v>
                </c:pt>
                <c:pt idx="1">
                  <c:v>1285.12</c:v>
                </c:pt>
                <c:pt idx="2">
                  <c:v>680.29</c:v>
                </c:pt>
                <c:pt idx="3">
                  <c:v>1723.7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4</a:t>
                    </a:r>
                  </a:p>
                  <a:p>
                    <a:r>
                      <a:t>1305.06</a:t>
                    </a:r>
                  </a:p>
                </c:rich>
              </c:tx>
              <c:dLblPos val="l"/>
              <c:showLegendKey val="0"/>
              <c:showVal val="1"/>
              <c:showCatName val="0"/>
              <c:showSerName val="0"/>
              <c:showPercent val="0"/>
              <c:showBubbleSize val="0"/>
            </c:dLbl>
            <c:dLbl>
              <c:idx val="1"/>
              <c:tx>
                <c:rich>
                  <a:bodyPr/>
                  <a:lstStyle/>
                  <a:p>
                    <a:r>
                      <a:t>IX 100</a:t>
                    </a:r>
                  </a:p>
                  <a:p>
                    <a:r>
                      <a:t>1214.45</a:t>
                    </a:r>
                  </a:p>
                </c:rich>
              </c:tx>
              <c:dLblPos val="l"/>
              <c:showLegendKey val="0"/>
              <c:showVal val="1"/>
              <c:showCatName val="0"/>
              <c:showSerName val="0"/>
              <c:showPercent val="0"/>
              <c:showBubbleSize val="0"/>
            </c:dLbl>
            <c:dLbl>
              <c:idx val="2"/>
              <c:tx>
                <c:rich>
                  <a:bodyPr/>
                  <a:lstStyle/>
                  <a:p>
                    <a:r>
                      <a:t>IX 100</a:t>
                    </a:r>
                  </a:p>
                  <a:p>
                    <a:r>
                      <a:t>672.3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C$2:$C$5</c:f>
              <c:numCache>
                <c:formatCode>General</c:formatCode>
                <c:ptCount val="4"/>
                <c:pt idx="0">
                  <c:v>1305.06</c:v>
                </c:pt>
                <c:pt idx="1">
                  <c:v>1214.45</c:v>
                </c:pt>
                <c:pt idx="2">
                  <c:v>672.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D$2:$D$5</c:f>
              <c:numCache>
                <c:formatCode>General</c:formatCode>
                <c:ptCount val="4"/>
                <c:pt idx="0">
                  <c:v>1757.59</c:v>
                </c:pt>
                <c:pt idx="1">
                  <c:v>1385.78</c:v>
                </c:pt>
                <c:pt idx="2">
                  <c:v>603.34</c:v>
                </c:pt>
                <c:pt idx="3">
                  <c:v>6965.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E$2:$E$5</c:f>
              <c:numCache>
                <c:formatCode>General</c:formatCode>
                <c:ptCount val="4"/>
                <c:pt idx="0">
                  <c:v>3297.49</c:v>
                </c:pt>
                <c:pt idx="3">
                  <c:v>6937.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
                </c:pt>
              </c:strCache>
            </c:strRef>
          </c:cat>
          <c:val>
            <c:numRef>
              <c:f>Sheet1!$F$2:$F$5</c:f>
              <c:numCache>
                <c:formatCode>General</c:formatCode>
                <c:ptCount val="4"/>
                <c:pt idx="0">
                  <c:v>1879.6</c:v>
                </c:pt>
                <c:pt idx="1">
                  <c:v>1175.46</c:v>
                </c:pt>
                <c:pt idx="2">
                  <c:v>970.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65.5"/>
          <c:min val="602.84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IX 76</c:v>
                </c:pt>
                <c:pt idx="2">
                  <c:v>IX 100</c:v>
                </c:pt>
                <c:pt idx="3">
                  <c:v/>
                </c:pt>
              </c:strCache>
            </c:strRef>
          </c:cat>
          <c:val>
            <c:numRef>
              <c:f>Sheet1!$B$2:$B$5</c:f>
              <c:numCache>
                <c:formatCode>General</c:formatCode>
                <c:ptCount val="4"/>
                <c:pt idx="0">
                  <c:v>1556.59</c:v>
                </c:pt>
                <c:pt idx="1">
                  <c:v>1285.12</c:v>
                </c:pt>
                <c:pt idx="2">
                  <c:v>680.29</c:v>
                </c:pt>
                <c:pt idx="3">
                  <c:v>1723.7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9</a:t>
                    </a:r>
                  </a:p>
                  <a:p>
                    <a:r>
                      <a:t>1388.67</a:t>
                    </a:r>
                  </a:p>
                </c:rich>
              </c:tx>
              <c:dLblPos val="l"/>
              <c:showLegendKey val="0"/>
              <c:showVal val="1"/>
              <c:showCatName val="0"/>
              <c:showSerName val="0"/>
              <c:showPercent val="0"/>
              <c:showBubbleSize val="0"/>
            </c:dLbl>
            <c:dLbl>
              <c:idx val="1"/>
              <c:tx>
                <c:rich>
                  <a:bodyPr/>
                  <a:lstStyle/>
                  <a:p>
                    <a:r>
                      <a:t>IX 76</a:t>
                    </a:r>
                  </a:p>
                  <a:p>
                    <a:r>
                      <a:t>1046.5</a:t>
                    </a:r>
                  </a:p>
                </c:rich>
              </c:tx>
              <c:dLblPos val="l"/>
              <c:showLegendKey val="0"/>
              <c:showVal val="1"/>
              <c:showCatName val="0"/>
              <c:showSerName val="0"/>
              <c:showPercent val="0"/>
              <c:showBubbleSize val="0"/>
            </c:dLbl>
            <c:dLbl>
              <c:idx val="2"/>
              <c:tx>
                <c:rich>
                  <a:bodyPr/>
                  <a:lstStyle/>
                  <a:p>
                    <a:r>
                      <a:t>IX 100</a:t>
                    </a:r>
                  </a:p>
                  <a:p>
                    <a:r>
                      <a:t>46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IX 76</c:v>
                </c:pt>
                <c:pt idx="2">
                  <c:v>IX 100</c:v>
                </c:pt>
                <c:pt idx="3">
                  <c:v/>
                </c:pt>
              </c:strCache>
            </c:strRef>
          </c:cat>
          <c:val>
            <c:numRef>
              <c:f>Sheet1!$C$2:$C$5</c:f>
              <c:numCache>
                <c:formatCode>General</c:formatCode>
                <c:ptCount val="4"/>
                <c:pt idx="0">
                  <c:v>1388.67</c:v>
                </c:pt>
                <c:pt idx="1">
                  <c:v>1046.5</c:v>
                </c:pt>
                <c:pt idx="2">
                  <c:v>46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IX 76</c:v>
                </c:pt>
                <c:pt idx="2">
                  <c:v>IX 100</c:v>
                </c:pt>
                <c:pt idx="3">
                  <c:v/>
                </c:pt>
              </c:strCache>
            </c:strRef>
          </c:cat>
          <c:val>
            <c:numRef>
              <c:f>Sheet1!$D$2:$D$5</c:f>
              <c:numCache>
                <c:formatCode>General</c:formatCode>
                <c:ptCount val="4"/>
                <c:pt idx="0">
                  <c:v>1757.59</c:v>
                </c:pt>
                <c:pt idx="1">
                  <c:v>1385.78</c:v>
                </c:pt>
                <c:pt idx="2">
                  <c:v>603.34</c:v>
                </c:pt>
                <c:pt idx="3">
                  <c:v>6965.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IX 76</c:v>
                </c:pt>
                <c:pt idx="2">
                  <c:v>IX 100</c:v>
                </c:pt>
                <c:pt idx="3">
                  <c:v/>
                </c:pt>
              </c:strCache>
            </c:strRef>
          </c:cat>
          <c:val>
            <c:numRef>
              <c:f>Sheet1!$E$2:$E$5</c:f>
              <c:numCache>
                <c:formatCode>General</c:formatCode>
                <c:ptCount val="4"/>
                <c:pt idx="0">
                  <c:v>3297.49</c:v>
                </c:pt>
                <c:pt idx="3">
                  <c:v>6937.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9</c:v>
                </c:pt>
                <c:pt idx="1">
                  <c:v>IX 76</c:v>
                </c:pt>
                <c:pt idx="2">
                  <c:v>IX 100</c:v>
                </c:pt>
                <c:pt idx="3">
                  <c:v/>
                </c:pt>
              </c:strCache>
            </c:strRef>
          </c:cat>
          <c:val>
            <c:numRef>
              <c:f>Sheet1!$F$2:$F$5</c:f>
              <c:numCache>
                <c:formatCode>General</c:formatCode>
                <c:ptCount val="4"/>
                <c:pt idx="0">
                  <c:v>1879.6</c:v>
                </c:pt>
                <c:pt idx="1">
                  <c:v>1175.46</c:v>
                </c:pt>
                <c:pt idx="2">
                  <c:v>970.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65.5"/>
          <c:min val="461.3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68</c:v>
                </c:pt>
                <c:pt idx="1">
                  <c:v/>
                </c:pt>
                <c:pt idx="2">
                  <c:v/>
                </c:pt>
                <c:pt idx="3">
                  <c:v/>
                </c:pt>
              </c:strCache>
            </c:strRef>
          </c:cat>
          <c:val>
            <c:numRef>
              <c:f>Sheet1!$B$2:$B$5</c:f>
              <c:numCache>
                <c:formatCode>General</c:formatCode>
                <c:ptCount val="4"/>
                <c:pt idx="0">
                  <c:v>1556.59</c:v>
                </c:pt>
                <c:pt idx="1">
                  <c:v>1285.12</c:v>
                </c:pt>
                <c:pt idx="2">
                  <c:v>680.29</c:v>
                </c:pt>
                <c:pt idx="3">
                  <c:v>1723.7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8</a:t>
                    </a:r>
                  </a:p>
                  <a:p>
                    <a:r>
                      <a:t>4707.8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68</c:v>
                </c:pt>
                <c:pt idx="1">
                  <c:v/>
                </c:pt>
                <c:pt idx="2">
                  <c:v/>
                </c:pt>
                <c:pt idx="3">
                  <c:v/>
                </c:pt>
              </c:strCache>
            </c:strRef>
          </c:cat>
          <c:val>
            <c:numRef>
              <c:f>Sheet1!$C$2:$C$5</c:f>
              <c:numCache>
                <c:formatCode>General</c:formatCode>
                <c:ptCount val="4"/>
                <c:pt idx="0">
                  <c:v>4707.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68</c:v>
                </c:pt>
                <c:pt idx="1">
                  <c:v/>
                </c:pt>
                <c:pt idx="2">
                  <c:v/>
                </c:pt>
                <c:pt idx="3">
                  <c:v/>
                </c:pt>
              </c:strCache>
            </c:strRef>
          </c:cat>
          <c:val>
            <c:numRef>
              <c:f>Sheet1!$D$2:$D$5</c:f>
              <c:numCache>
                <c:formatCode>General</c:formatCode>
                <c:ptCount val="4"/>
                <c:pt idx="0">
                  <c:v>1757.59</c:v>
                </c:pt>
                <c:pt idx="1">
                  <c:v>1385.78</c:v>
                </c:pt>
                <c:pt idx="2">
                  <c:v>603.34</c:v>
                </c:pt>
                <c:pt idx="3">
                  <c:v>6965.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utrogen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68</c:v>
                </c:pt>
                <c:pt idx="1">
                  <c:v/>
                </c:pt>
                <c:pt idx="2">
                  <c:v/>
                </c:pt>
                <c:pt idx="3">
                  <c:v/>
                </c:pt>
              </c:strCache>
            </c:strRef>
          </c:cat>
          <c:val>
            <c:numRef>
              <c:f>Sheet1!$E$2:$E$5</c:f>
              <c:numCache>
                <c:formatCode>General</c:formatCode>
                <c:ptCount val="4"/>
                <c:pt idx="0">
                  <c:v>3297.49</c:v>
                </c:pt>
                <c:pt idx="3">
                  <c:v>6937.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ustralian Go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68</c:v>
                </c:pt>
                <c:pt idx="1">
                  <c:v/>
                </c:pt>
                <c:pt idx="2">
                  <c:v/>
                </c:pt>
                <c:pt idx="3">
                  <c:v/>
                </c:pt>
              </c:strCache>
            </c:strRef>
          </c:cat>
          <c:val>
            <c:numRef>
              <c:f>Sheet1!$F$2:$F$5</c:f>
              <c:numCache>
                <c:formatCode>General</c:formatCode>
                <c:ptCount val="4"/>
                <c:pt idx="0">
                  <c:v>1879.6</c:v>
                </c:pt>
                <c:pt idx="1">
                  <c:v>1175.46</c:v>
                </c:pt>
                <c:pt idx="2">
                  <c:v>970.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965.5"/>
          <c:min val="602.84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B$2:$B$5</c:f>
              <c:numCache>
                <c:formatCode>General</c:formatCode>
                <c:ptCount val="4"/>
                <c:pt idx="0">
                  <c:v>1786.66</c:v>
                </c:pt>
                <c:pt idx="1">
                  <c:v>1215.58</c:v>
                </c:pt>
                <c:pt idx="2">
                  <c:v>594.86</c:v>
                </c:pt>
                <c:pt idx="3">
                  <c:v>7543.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34.5</a:t>
                    </a:r>
                  </a:p>
                </c:rich>
              </c:tx>
              <c:dLblPos val="l"/>
              <c:showLegendKey val="0"/>
              <c:showVal val="1"/>
              <c:showCatName val="0"/>
              <c:showSerName val="0"/>
              <c:showPercent val="0"/>
              <c:showBubbleSize val="0"/>
            </c:dLbl>
            <c:dLbl>
              <c:idx val="1"/>
              <c:tx>
                <c:rich>
                  <a:bodyPr/>
                  <a:lstStyle/>
                  <a:p>
                    <a:r>
                      <a:t>IX 100</a:t>
                    </a:r>
                  </a:p>
                  <a:p>
                    <a:r>
                      <a:t>1208.76</a:t>
                    </a:r>
                  </a:p>
                </c:rich>
              </c:tx>
              <c:dLblPos val="l"/>
              <c:showLegendKey val="0"/>
              <c:showVal val="1"/>
              <c:showCatName val="0"/>
              <c:showSerName val="0"/>
              <c:showPercent val="0"/>
              <c:showBubbleSize val="0"/>
            </c:dLbl>
            <c:dLbl>
              <c:idx val="2"/>
              <c:tx>
                <c:rich>
                  <a:bodyPr/>
                  <a:lstStyle/>
                  <a:p>
                    <a:r>
                      <a:t>IX 100</a:t>
                    </a:r>
                  </a:p>
                  <a:p>
                    <a:r>
                      <a:t>743.0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C$2:$C$5</c:f>
              <c:numCache>
                <c:formatCode>General</c:formatCode>
                <c:ptCount val="4"/>
                <c:pt idx="0">
                  <c:v>1334.5</c:v>
                </c:pt>
                <c:pt idx="1">
                  <c:v>1208.76</c:v>
                </c:pt>
                <c:pt idx="2">
                  <c:v>743.0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D$2:$D$5</c:f>
              <c:numCache>
                <c:formatCode>General</c:formatCode>
                <c:ptCount val="4"/>
                <c:pt idx="0">
                  <c:v>1892.94</c:v>
                </c:pt>
                <c:pt idx="1">
                  <c:v>1360.82</c:v>
                </c:pt>
                <c:pt idx="2">
                  <c:v>596.28</c:v>
                </c:pt>
                <c:pt idx="3">
                  <c:v>1995.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E$2:$E$5</c:f>
              <c:numCache>
                <c:formatCode>General</c:formatCode>
                <c:ptCount val="4"/>
                <c:pt idx="0">
                  <c:v>11220.46</c:v>
                </c:pt>
                <c:pt idx="3">
                  <c:v>26860.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F$2:$F$5</c:f>
              <c:numCache>
                <c:formatCode>General</c:formatCode>
                <c:ptCount val="4"/>
                <c:pt idx="0">
                  <c:v>7575.57</c:v>
                </c:pt>
                <c:pt idx="3">
                  <c:v>19391.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860.738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76</c:v>
                </c:pt>
                <c:pt idx="2">
                  <c:v>IX 100</c:v>
                </c:pt>
                <c:pt idx="3">
                  <c:v>IX 0</c:v>
                </c:pt>
              </c:strCache>
            </c:strRef>
          </c:cat>
          <c:val>
            <c:numRef>
              <c:f>Sheet1!$B$2:$B$5</c:f>
              <c:numCache>
                <c:formatCode>General</c:formatCode>
                <c:ptCount val="4"/>
                <c:pt idx="0">
                  <c:v>1786.66</c:v>
                </c:pt>
                <c:pt idx="1">
                  <c:v>1215.58</c:v>
                </c:pt>
                <c:pt idx="2">
                  <c:v>594.86</c:v>
                </c:pt>
                <c:pt idx="3">
                  <c:v>7543.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343.75</a:t>
                    </a:r>
                  </a:p>
                </c:rich>
              </c:tx>
              <c:dLblPos val="l"/>
              <c:showLegendKey val="0"/>
              <c:showVal val="1"/>
              <c:showCatName val="0"/>
              <c:showSerName val="0"/>
              <c:showPercent val="0"/>
              <c:showBubbleSize val="0"/>
            </c:dLbl>
            <c:dLbl>
              <c:idx val="1"/>
              <c:tx>
                <c:rich>
                  <a:bodyPr/>
                  <a:lstStyle/>
                  <a:p>
                    <a:r>
                      <a:t>IX 76</a:t>
                    </a:r>
                  </a:p>
                  <a:p>
                    <a:r>
                      <a:t>1028.97</a:t>
                    </a:r>
                  </a:p>
                </c:rich>
              </c:tx>
              <c:dLblPos val="l"/>
              <c:showLegendKey val="0"/>
              <c:showVal val="1"/>
              <c:showCatName val="0"/>
              <c:showSerName val="0"/>
              <c:showPercent val="0"/>
              <c:showBubbleSize val="0"/>
            </c:dLbl>
            <c:dLbl>
              <c:idx val="2"/>
              <c:tx>
                <c:rich>
                  <a:bodyPr/>
                  <a:lstStyle/>
                  <a:p>
                    <a:r>
                      <a:t>IX 100</a:t>
                    </a:r>
                  </a:p>
                  <a:p>
                    <a:r>
                      <a:t>453.03</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76</c:v>
                </c:pt>
                <c:pt idx="2">
                  <c:v>IX 100</c:v>
                </c:pt>
                <c:pt idx="3">
                  <c:v>IX 0</c:v>
                </c:pt>
              </c:strCache>
            </c:strRef>
          </c:cat>
          <c:val>
            <c:numRef>
              <c:f>Sheet1!$C$2:$C$5</c:f>
              <c:numCache>
                <c:formatCode>General</c:formatCode>
                <c:ptCount val="4"/>
                <c:pt idx="0">
                  <c:v>1343.75</c:v>
                </c:pt>
                <c:pt idx="1">
                  <c:v>1028.97</c:v>
                </c:pt>
                <c:pt idx="2">
                  <c:v>453.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76</c:v>
                </c:pt>
                <c:pt idx="2">
                  <c:v>IX 100</c:v>
                </c:pt>
                <c:pt idx="3">
                  <c:v>IX 0</c:v>
                </c:pt>
              </c:strCache>
            </c:strRef>
          </c:cat>
          <c:val>
            <c:numRef>
              <c:f>Sheet1!$D$2:$D$5</c:f>
              <c:numCache>
                <c:formatCode>General</c:formatCode>
                <c:ptCount val="4"/>
                <c:pt idx="0">
                  <c:v>1892.94</c:v>
                </c:pt>
                <c:pt idx="1">
                  <c:v>1360.82</c:v>
                </c:pt>
                <c:pt idx="2">
                  <c:v>596.28</c:v>
                </c:pt>
                <c:pt idx="3">
                  <c:v>1995.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76</c:v>
                </c:pt>
                <c:pt idx="2">
                  <c:v>IX 100</c:v>
                </c:pt>
                <c:pt idx="3">
                  <c:v>IX 0</c:v>
                </c:pt>
              </c:strCache>
            </c:strRef>
          </c:cat>
          <c:val>
            <c:numRef>
              <c:f>Sheet1!$E$2:$E$5</c:f>
              <c:numCache>
                <c:formatCode>General</c:formatCode>
                <c:ptCount val="4"/>
                <c:pt idx="0">
                  <c:v>11220.46</c:v>
                </c:pt>
                <c:pt idx="3">
                  <c:v>26860.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76</c:v>
                </c:pt>
                <c:pt idx="2">
                  <c:v>IX 100</c:v>
                </c:pt>
                <c:pt idx="3">
                  <c:v>IX 0</c:v>
                </c:pt>
              </c:strCache>
            </c:strRef>
          </c:cat>
          <c:val>
            <c:numRef>
              <c:f>Sheet1!$F$2:$F$5</c:f>
              <c:numCache>
                <c:formatCode>General</c:formatCode>
                <c:ptCount val="4"/>
                <c:pt idx="0">
                  <c:v>7575.57</c:v>
                </c:pt>
                <c:pt idx="3">
                  <c:v>19391.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860.738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0</c:v>
                </c:pt>
              </c:strCache>
            </c:strRef>
          </c:cat>
          <c:val>
            <c:numRef>
              <c:f>Sheet1!$B$2:$B$5</c:f>
              <c:numCache>
                <c:formatCode>General</c:formatCode>
                <c:ptCount val="4"/>
                <c:pt idx="0">
                  <c:v>1580.56</c:v>
                </c:pt>
                <c:pt idx="1">
                  <c:v>1114.83</c:v>
                </c:pt>
                <c:pt idx="2">
                  <c:v>562.08</c:v>
                </c:pt>
                <c:pt idx="3">
                  <c:v>5891.6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9</a:t>
                    </a:r>
                  </a:p>
                  <a:p>
                    <a:r>
                      <a:t>1212.12</a:t>
                    </a:r>
                  </a:p>
                </c:rich>
              </c:tx>
              <c:dLblPos val="l"/>
              <c:showLegendKey val="0"/>
              <c:showVal val="1"/>
              <c:showCatName val="0"/>
              <c:showSerName val="0"/>
              <c:showPercent val="0"/>
              <c:showBubbleSize val="0"/>
            </c:dLbl>
            <c:dLbl>
              <c:idx val="1"/>
              <c:tx>
                <c:rich>
                  <a:bodyPr/>
                  <a:lstStyle/>
                  <a:p>
                    <a:r>
                      <a:t>IX 100</a:t>
                    </a:r>
                  </a:p>
                  <a:p>
                    <a:r>
                      <a:t>1081.76</a:t>
                    </a:r>
                  </a:p>
                </c:rich>
              </c:tx>
              <c:dLblPos val="l"/>
              <c:showLegendKey val="0"/>
              <c:showVal val="1"/>
              <c:showCatName val="0"/>
              <c:showSerName val="0"/>
              <c:showPercent val="0"/>
              <c:showBubbleSize val="0"/>
            </c:dLbl>
            <c:dLbl>
              <c:idx val="2"/>
              <c:tx>
                <c:rich>
                  <a:bodyPr/>
                  <a:lstStyle/>
                  <a:p>
                    <a:r>
                      <a:t>IX 100</a:t>
                    </a:r>
                  </a:p>
                  <a:p>
                    <a:r>
                      <a:t>544.67</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0</c:v>
                </c:pt>
              </c:strCache>
            </c:strRef>
          </c:cat>
          <c:val>
            <c:numRef>
              <c:f>Sheet1!$C$2:$C$5</c:f>
              <c:numCache>
                <c:formatCode>General</c:formatCode>
                <c:ptCount val="4"/>
                <c:pt idx="0">
                  <c:v>1212.12</c:v>
                </c:pt>
                <c:pt idx="1">
                  <c:v>1081.76</c:v>
                </c:pt>
                <c:pt idx="2">
                  <c:v>544.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0</c:v>
                </c:pt>
              </c:strCache>
            </c:strRef>
          </c:cat>
          <c:val>
            <c:numRef>
              <c:f>Sheet1!$D$2:$D$5</c:f>
              <c:numCache>
                <c:formatCode>General</c:formatCode>
                <c:ptCount val="4"/>
                <c:pt idx="0">
                  <c:v>1747.61</c:v>
                </c:pt>
                <c:pt idx="1">
                  <c:v>1226.55</c:v>
                </c:pt>
                <c:pt idx="2">
                  <c:v>573.98</c:v>
                </c:pt>
                <c:pt idx="3">
                  <c:v>5695.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0</c:v>
                </c:pt>
              </c:strCache>
            </c:strRef>
          </c:cat>
          <c:val>
            <c:numRef>
              <c:f>Sheet1!$E$2:$E$5</c:f>
              <c:numCache>
                <c:formatCode>General</c:formatCode>
                <c:ptCount val="4"/>
                <c:pt idx="0">
                  <c:v>6722.63</c:v>
                </c:pt>
                <c:pt idx="1">
                  <c:v>6522.67</c:v>
                </c:pt>
                <c:pt idx="3">
                  <c:v>7613.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69</c:v>
                </c:pt>
                <c:pt idx="1">
                  <c:v>IX 100</c:v>
                </c:pt>
                <c:pt idx="2">
                  <c:v>IX 100</c:v>
                </c:pt>
                <c:pt idx="3">
                  <c:v>IX 0</c:v>
                </c:pt>
              </c:strCache>
            </c:strRef>
          </c:cat>
          <c:val>
            <c:numRef>
              <c:f>Sheet1!$F$2:$F$5</c:f>
              <c:numCache>
                <c:formatCode>General</c:formatCode>
                <c:ptCount val="4"/>
                <c:pt idx="0">
                  <c:v>6928.92</c:v>
                </c:pt>
                <c:pt idx="3">
                  <c:v>14921.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922.214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B$2:$B$5</c:f>
              <c:numCache>
                <c:formatCode>General</c:formatCode>
                <c:ptCount val="4"/>
                <c:pt idx="0">
                  <c:v>1786.66</c:v>
                </c:pt>
                <c:pt idx="1">
                  <c:v>1215.58</c:v>
                </c:pt>
                <c:pt idx="2">
                  <c:v>594.86</c:v>
                </c:pt>
                <c:pt idx="3">
                  <c:v>7543.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7</a:t>
                    </a:r>
                  </a:p>
                  <a:p>
                    <a:r>
                      <a:t>4873.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C$2:$C$5</c:f>
              <c:numCache>
                <c:formatCode>General</c:formatCode>
                <c:ptCount val="4"/>
                <c:pt idx="0">
                  <c:v>4873.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D$2:$D$5</c:f>
              <c:numCache>
                <c:formatCode>General</c:formatCode>
                <c:ptCount val="4"/>
                <c:pt idx="0">
                  <c:v>1892.94</c:v>
                </c:pt>
                <c:pt idx="1">
                  <c:v>1360.82</c:v>
                </c:pt>
                <c:pt idx="2">
                  <c:v>596.28</c:v>
                </c:pt>
                <c:pt idx="3">
                  <c:v>1995.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E$2:$E$5</c:f>
              <c:numCache>
                <c:formatCode>General</c:formatCode>
                <c:ptCount val="4"/>
                <c:pt idx="0">
                  <c:v>11220.46</c:v>
                </c:pt>
                <c:pt idx="3">
                  <c:v>26860.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F$2:$F$5</c:f>
              <c:numCache>
                <c:formatCode>General</c:formatCode>
                <c:ptCount val="4"/>
                <c:pt idx="0">
                  <c:v>7575.57</c:v>
                </c:pt>
                <c:pt idx="3">
                  <c:v>19391.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860.738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100</c:v>
                </c:pt>
                <c:pt idx="2">
                  <c:v>IX 100</c:v>
                </c:pt>
                <c:pt idx="3">
                  <c:v/>
                </c:pt>
              </c:strCache>
            </c:strRef>
          </c:cat>
          <c:val>
            <c:numRef>
              <c:f>Sheet1!$B$2:$B$5</c:f>
              <c:numCache>
                <c:formatCode>General</c:formatCode>
                <c:ptCount val="4"/>
                <c:pt idx="0">
                  <c:v>1785.28</c:v>
                </c:pt>
                <c:pt idx="1">
                  <c:v>1188.18</c:v>
                </c:pt>
                <c:pt idx="2">
                  <c:v>586.02</c:v>
                </c:pt>
                <c:pt idx="3">
                  <c:v>7571.4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362.23</a:t>
                    </a:r>
                  </a:p>
                </c:rich>
              </c:tx>
              <c:dLblPos val="l"/>
              <c:showLegendKey val="0"/>
              <c:showVal val="1"/>
              <c:showCatName val="0"/>
              <c:showSerName val="0"/>
              <c:showPercent val="0"/>
              <c:showBubbleSize val="0"/>
            </c:dLbl>
            <c:dLbl>
              <c:idx val="1"/>
              <c:tx>
                <c:rich>
                  <a:bodyPr/>
                  <a:lstStyle/>
                  <a:p>
                    <a:r>
                      <a:t>IX 100</a:t>
                    </a:r>
                  </a:p>
                  <a:p>
                    <a:r>
                      <a:t>1225.29</a:t>
                    </a:r>
                  </a:p>
                </c:rich>
              </c:tx>
              <c:dLblPos val="l"/>
              <c:showLegendKey val="0"/>
              <c:showVal val="1"/>
              <c:showCatName val="0"/>
              <c:showSerName val="0"/>
              <c:showPercent val="0"/>
              <c:showBubbleSize val="0"/>
            </c:dLbl>
            <c:dLbl>
              <c:idx val="2"/>
              <c:tx>
                <c:rich>
                  <a:bodyPr/>
                  <a:lstStyle/>
                  <a:p>
                    <a:r>
                      <a:t>IX 100</a:t>
                    </a:r>
                  </a:p>
                  <a:p>
                    <a:r>
                      <a:t>743.1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100</c:v>
                </c:pt>
                <c:pt idx="2">
                  <c:v>IX 100</c:v>
                </c:pt>
                <c:pt idx="3">
                  <c:v/>
                </c:pt>
              </c:strCache>
            </c:strRef>
          </c:cat>
          <c:val>
            <c:numRef>
              <c:f>Sheet1!$C$2:$C$5</c:f>
              <c:numCache>
                <c:formatCode>General</c:formatCode>
                <c:ptCount val="4"/>
                <c:pt idx="0">
                  <c:v>1362.23</c:v>
                </c:pt>
                <c:pt idx="1">
                  <c:v>1225.29</c:v>
                </c:pt>
                <c:pt idx="2">
                  <c:v>743.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100</c:v>
                </c:pt>
                <c:pt idx="2">
                  <c:v>IX 100</c:v>
                </c:pt>
                <c:pt idx="3">
                  <c:v/>
                </c:pt>
              </c:strCache>
            </c:strRef>
          </c:cat>
          <c:val>
            <c:numRef>
              <c:f>Sheet1!$D$2:$D$5</c:f>
              <c:numCache>
                <c:formatCode>General</c:formatCode>
                <c:ptCount val="4"/>
                <c:pt idx="0">
                  <c:v>1925.06</c:v>
                </c:pt>
                <c:pt idx="1">
                  <c:v>1378.46</c:v>
                </c:pt>
                <c:pt idx="2">
                  <c:v>599.7</c:v>
                </c:pt>
                <c:pt idx="3">
                  <c:v>323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100</c:v>
                </c:pt>
                <c:pt idx="2">
                  <c:v>IX 100</c:v>
                </c:pt>
                <c:pt idx="3">
                  <c:v/>
                </c:pt>
              </c:strCache>
            </c:strRef>
          </c:cat>
          <c:val>
            <c:numRef>
              <c:f>Sheet1!$E$2:$E$5</c:f>
              <c:numCache>
                <c:formatCode>General</c:formatCode>
                <c:ptCount val="4"/>
                <c:pt idx="0">
                  <c:v>10479.6</c:v>
                </c:pt>
                <c:pt idx="2">
                  <c:v>12975.0</c:v>
                </c:pt>
                <c:pt idx="3">
                  <c:v>16944.5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1</c:v>
                </c:pt>
                <c:pt idx="1">
                  <c:v>IX 100</c:v>
                </c:pt>
                <c:pt idx="2">
                  <c:v>IX 100</c:v>
                </c:pt>
                <c:pt idx="3">
                  <c:v/>
                </c:pt>
              </c:strCache>
            </c:strRef>
          </c:cat>
          <c:val>
            <c:numRef>
              <c:f>Sheet1!$F$2:$F$5</c:f>
              <c:numCache>
                <c:formatCode>General</c:formatCode>
                <c:ptCount val="4"/>
                <c:pt idx="0">
                  <c:v>7581.67</c:v>
                </c:pt>
                <c:pt idx="3">
                  <c:v>13619.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945.0918"/>
          <c:min val="585.524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0</c:v>
                </c:pt>
              </c:strCache>
            </c:strRef>
          </c:cat>
          <c:val>
            <c:numRef>
              <c:f>Sheet1!$B$2:$B$5</c:f>
              <c:numCache>
                <c:formatCode>General</c:formatCode>
                <c:ptCount val="4"/>
                <c:pt idx="0">
                  <c:v>1785.28</c:v>
                </c:pt>
                <c:pt idx="1">
                  <c:v>1188.18</c:v>
                </c:pt>
                <c:pt idx="2">
                  <c:v>586.02</c:v>
                </c:pt>
                <c:pt idx="3">
                  <c:v>7571.4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3</a:t>
                    </a:r>
                  </a:p>
                  <a:p>
                    <a:r>
                      <a:t>1406.56</a:t>
                    </a:r>
                  </a:p>
                </c:rich>
              </c:tx>
              <c:dLblPos val="l"/>
              <c:showLegendKey val="0"/>
              <c:showVal val="1"/>
              <c:showCatName val="0"/>
              <c:showSerName val="0"/>
              <c:showPercent val="0"/>
              <c:showBubbleSize val="0"/>
            </c:dLbl>
            <c:dLbl>
              <c:idx val="1"/>
              <c:tx>
                <c:rich>
                  <a:bodyPr/>
                  <a:lstStyle/>
                  <a:p>
                    <a:r>
                      <a:t>IX 75</a:t>
                    </a:r>
                  </a:p>
                  <a:p>
                    <a:r>
                      <a:t>1028.67</a:t>
                    </a:r>
                  </a:p>
                </c:rich>
              </c:tx>
              <c:dLblPos val="l"/>
              <c:showLegendKey val="0"/>
              <c:showVal val="1"/>
              <c:showCatName val="0"/>
              <c:showSerName val="0"/>
              <c:showPercent val="0"/>
              <c:showBubbleSize val="0"/>
            </c:dLbl>
            <c:dLbl>
              <c:idx val="2"/>
              <c:tx>
                <c:rich>
                  <a:bodyPr/>
                  <a:lstStyle/>
                  <a:p>
                    <a:r>
                      <a:t>IX 100</a:t>
                    </a:r>
                  </a:p>
                  <a:p>
                    <a:r>
                      <a:t>464.78</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0</c:v>
                </c:pt>
              </c:strCache>
            </c:strRef>
          </c:cat>
          <c:val>
            <c:numRef>
              <c:f>Sheet1!$C$2:$C$5</c:f>
              <c:numCache>
                <c:formatCode>General</c:formatCode>
                <c:ptCount val="4"/>
                <c:pt idx="0">
                  <c:v>1406.56</c:v>
                </c:pt>
                <c:pt idx="1">
                  <c:v>1028.67</c:v>
                </c:pt>
                <c:pt idx="2">
                  <c:v>464.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0</c:v>
                </c:pt>
              </c:strCache>
            </c:strRef>
          </c:cat>
          <c:val>
            <c:numRef>
              <c:f>Sheet1!$D$2:$D$5</c:f>
              <c:numCache>
                <c:formatCode>General</c:formatCode>
                <c:ptCount val="4"/>
                <c:pt idx="0">
                  <c:v>1925.06</c:v>
                </c:pt>
                <c:pt idx="1">
                  <c:v>1378.46</c:v>
                </c:pt>
                <c:pt idx="2">
                  <c:v>599.7</c:v>
                </c:pt>
                <c:pt idx="3">
                  <c:v>323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0</c:v>
                </c:pt>
              </c:strCache>
            </c:strRef>
          </c:cat>
          <c:val>
            <c:numRef>
              <c:f>Sheet1!$E$2:$E$5</c:f>
              <c:numCache>
                <c:formatCode>General</c:formatCode>
                <c:ptCount val="4"/>
                <c:pt idx="0">
                  <c:v>10479.6</c:v>
                </c:pt>
                <c:pt idx="2">
                  <c:v>12975.0</c:v>
                </c:pt>
                <c:pt idx="3">
                  <c:v>16944.5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0</c:v>
                </c:pt>
              </c:strCache>
            </c:strRef>
          </c:cat>
          <c:val>
            <c:numRef>
              <c:f>Sheet1!$F$2:$F$5</c:f>
              <c:numCache>
                <c:formatCode>General</c:formatCode>
                <c:ptCount val="4"/>
                <c:pt idx="0">
                  <c:v>7581.67</c:v>
                </c:pt>
                <c:pt idx="3">
                  <c:v>13619.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945.091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8</c:v>
                </c:pt>
                <c:pt idx="1">
                  <c:v/>
                </c:pt>
                <c:pt idx="2">
                  <c:v/>
                </c:pt>
                <c:pt idx="3">
                  <c:v/>
                </c:pt>
              </c:strCache>
            </c:strRef>
          </c:cat>
          <c:val>
            <c:numRef>
              <c:f>Sheet1!$B$2:$B$5</c:f>
              <c:numCache>
                <c:formatCode>General</c:formatCode>
                <c:ptCount val="4"/>
                <c:pt idx="0">
                  <c:v>1785.28</c:v>
                </c:pt>
                <c:pt idx="1">
                  <c:v>1188.18</c:v>
                </c:pt>
                <c:pt idx="2">
                  <c:v>586.02</c:v>
                </c:pt>
                <c:pt idx="3">
                  <c:v>7571.4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8</a:t>
                    </a:r>
                  </a:p>
                  <a:p>
                    <a:r>
                      <a:t>4967.2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8</c:v>
                </c:pt>
                <c:pt idx="1">
                  <c:v/>
                </c:pt>
                <c:pt idx="2">
                  <c:v/>
                </c:pt>
                <c:pt idx="3">
                  <c:v/>
                </c:pt>
              </c:strCache>
            </c:strRef>
          </c:cat>
          <c:val>
            <c:numRef>
              <c:f>Sheet1!$C$2:$C$5</c:f>
              <c:numCache>
                <c:formatCode>General</c:formatCode>
                <c:ptCount val="4"/>
                <c:pt idx="0">
                  <c:v>4967.2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8</c:v>
                </c:pt>
                <c:pt idx="1">
                  <c:v/>
                </c:pt>
                <c:pt idx="2">
                  <c:v/>
                </c:pt>
                <c:pt idx="3">
                  <c:v/>
                </c:pt>
              </c:strCache>
            </c:strRef>
          </c:cat>
          <c:val>
            <c:numRef>
              <c:f>Sheet1!$D$2:$D$5</c:f>
              <c:numCache>
                <c:formatCode>General</c:formatCode>
                <c:ptCount val="4"/>
                <c:pt idx="0">
                  <c:v>1925.06</c:v>
                </c:pt>
                <c:pt idx="1">
                  <c:v>1378.46</c:v>
                </c:pt>
                <c:pt idx="2">
                  <c:v>599.7</c:v>
                </c:pt>
                <c:pt idx="3">
                  <c:v>323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8</c:v>
                </c:pt>
                <c:pt idx="1">
                  <c:v/>
                </c:pt>
                <c:pt idx="2">
                  <c:v/>
                </c:pt>
                <c:pt idx="3">
                  <c:v/>
                </c:pt>
              </c:strCache>
            </c:strRef>
          </c:cat>
          <c:val>
            <c:numRef>
              <c:f>Sheet1!$E$2:$E$5</c:f>
              <c:numCache>
                <c:formatCode>General</c:formatCode>
                <c:ptCount val="4"/>
                <c:pt idx="0">
                  <c:v>10479.6</c:v>
                </c:pt>
                <c:pt idx="2">
                  <c:v>12975.0</c:v>
                </c:pt>
                <c:pt idx="3">
                  <c:v>16944.5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8</c:v>
                </c:pt>
                <c:pt idx="1">
                  <c:v/>
                </c:pt>
                <c:pt idx="2">
                  <c:v/>
                </c:pt>
                <c:pt idx="3">
                  <c:v/>
                </c:pt>
              </c:strCache>
            </c:strRef>
          </c:cat>
          <c:val>
            <c:numRef>
              <c:f>Sheet1!$F$2:$F$5</c:f>
              <c:numCache>
                <c:formatCode>General</c:formatCode>
                <c:ptCount val="4"/>
                <c:pt idx="0">
                  <c:v>7581.67</c:v>
                </c:pt>
                <c:pt idx="3">
                  <c:v>13619.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945.0918"/>
          <c:min val="585.524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B$2:$B$5</c:f>
              <c:numCache>
                <c:formatCode>General</c:formatCode>
                <c:ptCount val="4"/>
                <c:pt idx="0">
                  <c:v>1760.2</c:v>
                </c:pt>
                <c:pt idx="1">
                  <c:v>1237.38</c:v>
                </c:pt>
                <c:pt idx="2">
                  <c:v>602.58</c:v>
                </c:pt>
                <c:pt idx="3">
                  <c:v>4934.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66.81</a:t>
                    </a:r>
                  </a:p>
                </c:rich>
              </c:tx>
              <c:dLblPos val="l"/>
              <c:showLegendKey val="0"/>
              <c:showVal val="1"/>
              <c:showCatName val="0"/>
              <c:showSerName val="0"/>
              <c:showPercent val="0"/>
              <c:showBubbleSize val="0"/>
            </c:dLbl>
            <c:dLbl>
              <c:idx val="1"/>
              <c:tx>
                <c:rich>
                  <a:bodyPr/>
                  <a:lstStyle/>
                  <a:p>
                    <a:r>
                      <a:t>IX 100</a:t>
                    </a:r>
                  </a:p>
                  <a:p>
                    <a:r>
                      <a:t>1216.73</a:t>
                    </a:r>
                  </a:p>
                </c:rich>
              </c:tx>
              <c:dLblPos val="l"/>
              <c:showLegendKey val="0"/>
              <c:showVal val="1"/>
              <c:showCatName val="0"/>
              <c:showSerName val="0"/>
              <c:showPercent val="0"/>
              <c:showBubbleSize val="0"/>
            </c:dLbl>
            <c:dLbl>
              <c:idx val="2"/>
              <c:tx>
                <c:rich>
                  <a:bodyPr/>
                  <a:lstStyle/>
                  <a:p>
                    <a:r>
                      <a:t>IX 100</a:t>
                    </a:r>
                  </a:p>
                  <a:p>
                    <a:r>
                      <a:t>728.4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C$2:$C$5</c:f>
              <c:numCache>
                <c:formatCode>General</c:formatCode>
                <c:ptCount val="4"/>
                <c:pt idx="0">
                  <c:v>1366.81</c:v>
                </c:pt>
                <c:pt idx="1">
                  <c:v>1216.73</c:v>
                </c:pt>
                <c:pt idx="2">
                  <c:v>728.4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D$2:$D$5</c:f>
              <c:numCache>
                <c:formatCode>General</c:formatCode>
                <c:ptCount val="4"/>
                <c:pt idx="0">
                  <c:v>1945.88</c:v>
                </c:pt>
                <c:pt idx="1">
                  <c:v>1379.59</c:v>
                </c:pt>
                <c:pt idx="2">
                  <c:v>588.75</c:v>
                </c:pt>
                <c:pt idx="3">
                  <c:v>159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E$2:$E$5</c:f>
              <c:numCache>
                <c:formatCode>General</c:formatCode>
                <c:ptCount val="4"/>
                <c:pt idx="0">
                  <c:v>9611.11</c:v>
                </c:pt>
                <c:pt idx="3">
                  <c:v>12630.2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clip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0</c:v>
                </c:pt>
                <c:pt idx="1">
                  <c:v>IX 100</c:v>
                </c:pt>
                <c:pt idx="2">
                  <c:v>IX 100</c:v>
                </c:pt>
                <c:pt idx="3">
                  <c:v/>
                </c:pt>
              </c:strCache>
            </c:strRef>
          </c:cat>
          <c:val>
            <c:numRef>
              <c:f>Sheet1!$F$2:$F$5</c:f>
              <c:numCache>
                <c:formatCode>General</c:formatCode>
                <c:ptCount val="4"/>
                <c:pt idx="0">
                  <c:v>4414.83</c:v>
                </c:pt>
                <c:pt idx="3">
                  <c:v>3851.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30.75"/>
          <c:min val="588.2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3</c:v>
                </c:pt>
                <c:pt idx="2">
                  <c:v>IX 100</c:v>
                </c:pt>
                <c:pt idx="3">
                  <c:v>IX 40</c:v>
                </c:pt>
              </c:strCache>
            </c:strRef>
          </c:cat>
          <c:val>
            <c:numRef>
              <c:f>Sheet1!$B$2:$B$5</c:f>
              <c:numCache>
                <c:formatCode>General</c:formatCode>
                <c:ptCount val="4"/>
                <c:pt idx="0">
                  <c:v>1760.2</c:v>
                </c:pt>
                <c:pt idx="1">
                  <c:v>1237.38</c:v>
                </c:pt>
                <c:pt idx="2">
                  <c:v>602.58</c:v>
                </c:pt>
                <c:pt idx="3">
                  <c:v>4934.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5</a:t>
                    </a:r>
                  </a:p>
                  <a:p>
                    <a:r>
                      <a:t>1462.61</a:t>
                    </a:r>
                  </a:p>
                </c:rich>
              </c:tx>
              <c:dLblPos val="l"/>
              <c:showLegendKey val="0"/>
              <c:showVal val="1"/>
              <c:showCatName val="0"/>
              <c:showSerName val="0"/>
              <c:showPercent val="0"/>
              <c:showBubbleSize val="0"/>
            </c:dLbl>
            <c:dLbl>
              <c:idx val="1"/>
              <c:tx>
                <c:rich>
                  <a:bodyPr/>
                  <a:lstStyle/>
                  <a:p>
                    <a:r>
                      <a:t>IX 73</a:t>
                    </a:r>
                  </a:p>
                  <a:p>
                    <a:r>
                      <a:t>1001.01</a:t>
                    </a:r>
                  </a:p>
                </c:rich>
              </c:tx>
              <c:dLblPos val="l"/>
              <c:showLegendKey val="0"/>
              <c:showVal val="1"/>
              <c:showCatName val="0"/>
              <c:showSerName val="0"/>
              <c:showPercent val="0"/>
              <c:showBubbleSize val="0"/>
            </c:dLbl>
            <c:dLbl>
              <c:idx val="2"/>
              <c:tx>
                <c:rich>
                  <a:bodyPr/>
                  <a:lstStyle/>
                  <a:p>
                    <a:r>
                      <a:t>IX 100</a:t>
                    </a:r>
                  </a:p>
                  <a:p>
                    <a:r>
                      <a:t>450.14</a:t>
                    </a:r>
                  </a:p>
                </c:rich>
              </c:tx>
              <c:dLblPos val="l"/>
              <c:showLegendKey val="0"/>
              <c:showVal val="1"/>
              <c:showCatName val="0"/>
              <c:showSerName val="0"/>
              <c:showPercent val="0"/>
              <c:showBubbleSize val="0"/>
            </c:dLbl>
            <c:dLbl>
              <c:idx val="3"/>
              <c:tx>
                <c:rich>
                  <a:bodyPr/>
                  <a:lstStyle/>
                  <a:p>
                    <a:r>
                      <a:t>IX 40</a:t>
                    </a:r>
                  </a:p>
                  <a:p>
                    <a:r>
                      <a:t>1559.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3</c:v>
                </c:pt>
                <c:pt idx="2">
                  <c:v>IX 100</c:v>
                </c:pt>
                <c:pt idx="3">
                  <c:v>IX 40</c:v>
                </c:pt>
              </c:strCache>
            </c:strRef>
          </c:cat>
          <c:val>
            <c:numRef>
              <c:f>Sheet1!$C$2:$C$5</c:f>
              <c:numCache>
                <c:formatCode>General</c:formatCode>
                <c:ptCount val="4"/>
                <c:pt idx="0">
                  <c:v>1462.61</c:v>
                </c:pt>
                <c:pt idx="1">
                  <c:v>1001.01</c:v>
                </c:pt>
                <c:pt idx="2">
                  <c:v>450.14</c:v>
                </c:pt>
                <c:pt idx="3">
                  <c:v>1559.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3</c:v>
                </c:pt>
                <c:pt idx="2">
                  <c:v>IX 100</c:v>
                </c:pt>
                <c:pt idx="3">
                  <c:v>IX 40</c:v>
                </c:pt>
              </c:strCache>
            </c:strRef>
          </c:cat>
          <c:val>
            <c:numRef>
              <c:f>Sheet1!$D$2:$D$5</c:f>
              <c:numCache>
                <c:formatCode>General</c:formatCode>
                <c:ptCount val="4"/>
                <c:pt idx="0">
                  <c:v>1945.88</c:v>
                </c:pt>
                <c:pt idx="1">
                  <c:v>1379.59</c:v>
                </c:pt>
                <c:pt idx="2">
                  <c:v>588.75</c:v>
                </c:pt>
                <c:pt idx="3">
                  <c:v>159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3</c:v>
                </c:pt>
                <c:pt idx="2">
                  <c:v>IX 100</c:v>
                </c:pt>
                <c:pt idx="3">
                  <c:v>IX 40</c:v>
                </c:pt>
              </c:strCache>
            </c:strRef>
          </c:cat>
          <c:val>
            <c:numRef>
              <c:f>Sheet1!$E$2:$E$5</c:f>
              <c:numCache>
                <c:formatCode>General</c:formatCode>
                <c:ptCount val="4"/>
                <c:pt idx="0">
                  <c:v>9611.11</c:v>
                </c:pt>
                <c:pt idx="3">
                  <c:v>12630.2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clip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5</c:v>
                </c:pt>
                <c:pt idx="1">
                  <c:v>IX 73</c:v>
                </c:pt>
                <c:pt idx="2">
                  <c:v>IX 100</c:v>
                </c:pt>
                <c:pt idx="3">
                  <c:v>IX 40</c:v>
                </c:pt>
              </c:strCache>
            </c:strRef>
          </c:cat>
          <c:val>
            <c:numRef>
              <c:f>Sheet1!$F$2:$F$5</c:f>
              <c:numCache>
                <c:formatCode>General</c:formatCode>
                <c:ptCount val="4"/>
                <c:pt idx="0">
                  <c:v>4414.83</c:v>
                </c:pt>
                <c:pt idx="3">
                  <c:v>3851.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30.75"/>
          <c:min val="449.64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B$2:$B$5</c:f>
              <c:numCache>
                <c:formatCode>General</c:formatCode>
                <c:ptCount val="4"/>
                <c:pt idx="0">
                  <c:v>1760.2</c:v>
                </c:pt>
                <c:pt idx="1">
                  <c:v>1237.38</c:v>
                </c:pt>
                <c:pt idx="2">
                  <c:v>602.58</c:v>
                </c:pt>
                <c:pt idx="3">
                  <c:v>4934.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7</a:t>
                    </a:r>
                  </a:p>
                  <a:p>
                    <a:r>
                      <a:t>499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C$2:$C$5</c:f>
              <c:numCache>
                <c:formatCode>General</c:formatCode>
                <c:ptCount val="4"/>
                <c:pt idx="0">
                  <c:v>499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D$2:$D$5</c:f>
              <c:numCache>
                <c:formatCode>General</c:formatCode>
                <c:ptCount val="4"/>
                <c:pt idx="0">
                  <c:v>1945.88</c:v>
                </c:pt>
                <c:pt idx="1">
                  <c:v>1379.59</c:v>
                </c:pt>
                <c:pt idx="2">
                  <c:v>588.75</c:v>
                </c:pt>
                <c:pt idx="3">
                  <c:v>159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E$2:$E$5</c:f>
              <c:numCache>
                <c:formatCode>General</c:formatCode>
                <c:ptCount val="4"/>
                <c:pt idx="0">
                  <c:v>9611.11</c:v>
                </c:pt>
                <c:pt idx="3">
                  <c:v>12630.2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clip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257</c:v>
                </c:pt>
                <c:pt idx="1">
                  <c:v/>
                </c:pt>
                <c:pt idx="2">
                  <c:v/>
                </c:pt>
                <c:pt idx="3">
                  <c:v/>
                </c:pt>
              </c:strCache>
            </c:strRef>
          </c:cat>
          <c:val>
            <c:numRef>
              <c:f>Sheet1!$F$2:$F$5</c:f>
              <c:numCache>
                <c:formatCode>General</c:formatCode>
                <c:ptCount val="4"/>
                <c:pt idx="0">
                  <c:v>4414.83</c:v>
                </c:pt>
                <c:pt idx="3">
                  <c:v>3851.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30.75"/>
          <c:min val="588.2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2</c:v>
                </c:pt>
                <c:pt idx="2">
                  <c:v>IX 19</c:v>
                </c:pt>
              </c:strCache>
            </c:strRef>
          </c:cat>
          <c:val>
            <c:numRef>
              <c:f>Sheet1!$B$2:$B$4</c:f>
              <c:numCache>
                <c:formatCode>General</c:formatCode>
                <c:ptCount val="3"/>
                <c:pt idx="0">
                  <c:v>1688.72</c:v>
                </c:pt>
                <c:pt idx="1">
                  <c:v>1129.52</c:v>
                </c:pt>
                <c:pt idx="2">
                  <c:v>2310.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8</a:t>
                    </a:r>
                  </a:p>
                  <a:p>
                    <a:r>
                      <a:t>1239.62</a:t>
                    </a:r>
                  </a:p>
                </c:rich>
              </c:tx>
              <c:dLblPos val="l"/>
              <c:showLegendKey val="0"/>
              <c:showVal val="1"/>
              <c:showCatName val="0"/>
              <c:showSerName val="0"/>
              <c:showPercent val="0"/>
              <c:showBubbleSize val="0"/>
            </c:dLbl>
            <c:dLbl>
              <c:idx val="1"/>
              <c:tx>
                <c:rich>
                  <a:bodyPr/>
                  <a:lstStyle/>
                  <a:p>
                    <a:r>
                      <a:t>IX 82</a:t>
                    </a:r>
                  </a:p>
                  <a:p>
                    <a:r>
                      <a:t>1203.29</a:t>
                    </a:r>
                  </a:p>
                </c:rich>
              </c:tx>
              <c:dLblPos val="l"/>
              <c:showLegendKey val="0"/>
              <c:showVal val="1"/>
              <c:showCatName val="0"/>
              <c:showSerName val="0"/>
              <c:showPercent val="0"/>
              <c:showBubbleSize val="0"/>
            </c:dLbl>
            <c:dLbl>
              <c:idx val="2"/>
              <c:tx>
                <c:rich>
                  <a:bodyPr/>
                  <a:lstStyle/>
                  <a:p>
                    <a:r>
                      <a:t>IX 19</a:t>
                    </a:r>
                  </a:p>
                  <a:p>
                    <a:r>
                      <a:t>1350.5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2</c:v>
                </c:pt>
                <c:pt idx="2">
                  <c:v>IX 19</c:v>
                </c:pt>
              </c:strCache>
            </c:strRef>
          </c:cat>
          <c:val>
            <c:numRef>
              <c:f>Sheet1!$C$2:$C$4</c:f>
              <c:numCache>
                <c:formatCode>General</c:formatCode>
                <c:ptCount val="3"/>
                <c:pt idx="0">
                  <c:v>1239.62</c:v>
                </c:pt>
                <c:pt idx="1">
                  <c:v>1203.29</c:v>
                </c:pt>
                <c:pt idx="2">
                  <c:v>1350.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2</c:v>
                </c:pt>
                <c:pt idx="2">
                  <c:v>IX 19</c:v>
                </c:pt>
              </c:strCache>
            </c:strRef>
          </c:cat>
          <c:val>
            <c:numRef>
              <c:f>Sheet1!$D$2:$D$4</c:f>
              <c:numCache>
                <c:formatCode>General</c:formatCode>
                <c:ptCount val="3"/>
                <c:pt idx="0">
                  <c:v>1811.78</c:v>
                </c:pt>
                <c:pt idx="1">
                  <c:v>1464.8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2</c:v>
                </c:pt>
                <c:pt idx="2">
                  <c:v>IX 19</c:v>
                </c:pt>
              </c:strCache>
            </c:strRef>
          </c:cat>
          <c:val>
            <c:numRef>
              <c:f>Sheet1!$E$2:$E$4</c:f>
              <c:numCache>
                <c:formatCode>General</c:formatCode>
                <c:ptCount val="3"/>
                <c:pt idx="0">
                  <c:v>6566.42</c:v>
                </c:pt>
                <c:pt idx="2">
                  <c:v>7136.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2</c:v>
                </c:pt>
                <c:pt idx="2">
                  <c:v>IX 19</c:v>
                </c:pt>
              </c:strCache>
            </c:strRef>
          </c:cat>
          <c:val>
            <c:numRef>
              <c:f>Sheet1!$F$2:$F$4</c:f>
              <c:numCache>
                <c:formatCode>General</c:formatCode>
                <c:ptCount val="3"/>
                <c:pt idx="0">
                  <c:v>6795.74</c:v>
                </c:pt>
                <c:pt idx="1">
                  <c:v>3592.47</c:v>
                </c:pt>
                <c:pt idx="2">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2</c:v>
                </c:pt>
                <c:pt idx="2">
                  <c:v>IX 14</c:v>
                </c:pt>
              </c:strCache>
            </c:strRef>
          </c:cat>
          <c:val>
            <c:numRef>
              <c:f>Sheet1!$B$2:$B$4</c:f>
              <c:numCache>
                <c:formatCode>General</c:formatCode>
                <c:ptCount val="3"/>
                <c:pt idx="0">
                  <c:v>1720.68</c:v>
                </c:pt>
                <c:pt idx="1">
                  <c:v>1113.21</c:v>
                </c:pt>
                <c:pt idx="2">
                  <c:v>2155.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1232.58</a:t>
                    </a:r>
                  </a:p>
                </c:rich>
              </c:tx>
              <c:dLblPos val="l"/>
              <c:showLegendKey val="0"/>
              <c:showVal val="1"/>
              <c:showCatName val="0"/>
              <c:showSerName val="0"/>
              <c:showPercent val="0"/>
              <c:showBubbleSize val="0"/>
            </c:dLbl>
            <c:dLbl>
              <c:idx val="1"/>
              <c:tx>
                <c:rich>
                  <a:bodyPr/>
                  <a:lstStyle/>
                  <a:p>
                    <a:r>
                      <a:t>IX 82</a:t>
                    </a:r>
                  </a:p>
                  <a:p>
                    <a:r>
                      <a:t>1195.68</a:t>
                    </a:r>
                  </a:p>
                </c:rich>
              </c:tx>
              <c:dLblPos val="l"/>
              <c:showLegendKey val="0"/>
              <c:showVal val="1"/>
              <c:showCatName val="0"/>
              <c:showSerName val="0"/>
              <c:showPercent val="0"/>
              <c:showBubbleSize val="0"/>
            </c:dLbl>
            <c:dLbl>
              <c:idx val="2"/>
              <c:tx>
                <c:rich>
                  <a:bodyPr/>
                  <a:lstStyle/>
                  <a:p>
                    <a:r>
                      <a:t>IX 14</a:t>
                    </a:r>
                  </a:p>
                  <a:p>
                    <a:r>
                      <a:t>1360.3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2</c:v>
                </c:pt>
                <c:pt idx="2">
                  <c:v>IX 14</c:v>
                </c:pt>
              </c:strCache>
            </c:strRef>
          </c:cat>
          <c:val>
            <c:numRef>
              <c:f>Sheet1!$C$2:$C$4</c:f>
              <c:numCache>
                <c:formatCode>General</c:formatCode>
                <c:ptCount val="3"/>
                <c:pt idx="0">
                  <c:v>1232.58</c:v>
                </c:pt>
                <c:pt idx="1">
                  <c:v>1195.68</c:v>
                </c:pt>
                <c:pt idx="2">
                  <c:v>1360.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2</c:v>
                </c:pt>
                <c:pt idx="2">
                  <c:v>IX 14</c:v>
                </c:pt>
              </c:strCache>
            </c:strRef>
          </c:cat>
          <c:val>
            <c:numRef>
              <c:f>Sheet1!$D$2:$D$4</c:f>
              <c:numCache>
                <c:formatCode>General</c:formatCode>
                <c:ptCount val="3"/>
                <c:pt idx="0">
                  <c:v>1847.71</c:v>
                </c:pt>
                <c:pt idx="1">
                  <c:v>1458.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2</c:v>
                </c:pt>
                <c:pt idx="2">
                  <c:v>IX 14</c:v>
                </c:pt>
              </c:strCache>
            </c:strRef>
          </c:cat>
          <c:val>
            <c:numRef>
              <c:f>Sheet1!$E$2:$E$4</c:f>
              <c:numCache>
                <c:formatCode>General</c:formatCode>
                <c:ptCount val="3"/>
                <c:pt idx="0">
                  <c:v>6740.59</c:v>
                </c:pt>
                <c:pt idx="2">
                  <c:v>989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2</c:v>
                </c:pt>
                <c:pt idx="2">
                  <c:v>IX 14</c:v>
                </c:pt>
              </c:strCache>
            </c:strRef>
          </c:cat>
          <c:val>
            <c:numRef>
              <c:f>Sheet1!$F$2:$F$4</c:f>
              <c:numCache>
                <c:formatCode>General</c:formatCode>
                <c:ptCount val="3"/>
                <c:pt idx="0">
                  <c:v>6398.17</c:v>
                </c:pt>
                <c:pt idx="1">
                  <c:v>4892.12</c:v>
                </c:pt>
                <c:pt idx="2">
                  <c:v>23504.1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04.6667"/>
          <c:min val="1112.707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78</c:v>
                </c:pt>
                <c:pt idx="2">
                  <c:v>IX 28</c:v>
                </c:pt>
              </c:strCache>
            </c:strRef>
          </c:cat>
          <c:val>
            <c:numRef>
              <c:f>Sheet1!$B$2:$B$4</c:f>
              <c:numCache>
                <c:formatCode>General</c:formatCode>
                <c:ptCount val="3"/>
                <c:pt idx="0">
                  <c:v>2092.93</c:v>
                </c:pt>
                <c:pt idx="1">
                  <c:v>1168.93</c:v>
                </c:pt>
                <c:pt idx="2">
                  <c:v>245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8</a:t>
                    </a:r>
                  </a:p>
                  <a:p>
                    <a:r>
                      <a:t>1203.65</a:t>
                    </a:r>
                  </a:p>
                </c:rich>
              </c:tx>
              <c:dLblPos val="l"/>
              <c:showLegendKey val="0"/>
              <c:showVal val="1"/>
              <c:showCatName val="0"/>
              <c:showSerName val="0"/>
              <c:showPercent val="0"/>
              <c:showBubbleSize val="0"/>
            </c:dLbl>
            <c:dLbl>
              <c:idx val="1"/>
              <c:tx>
                <c:rich>
                  <a:bodyPr/>
                  <a:lstStyle/>
                  <a:p>
                    <a:r>
                      <a:t>IX 78</a:t>
                    </a:r>
                  </a:p>
                  <a:p>
                    <a:r>
                      <a:t>1176.64</a:t>
                    </a:r>
                  </a:p>
                </c:rich>
              </c:tx>
              <c:dLblPos val="l"/>
              <c:showLegendKey val="0"/>
              <c:showVal val="1"/>
              <c:showCatName val="0"/>
              <c:showSerName val="0"/>
              <c:showPercent val="0"/>
              <c:showBubbleSize val="0"/>
            </c:dLbl>
            <c:dLbl>
              <c:idx val="2"/>
              <c:tx>
                <c:rich>
                  <a:bodyPr/>
                  <a:lstStyle/>
                  <a:p>
                    <a:r>
                      <a:t>IX 28</a:t>
                    </a:r>
                  </a:p>
                  <a:p>
                    <a:r>
                      <a:t>1346.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78</c:v>
                </c:pt>
                <c:pt idx="2">
                  <c:v>IX 28</c:v>
                </c:pt>
              </c:strCache>
            </c:strRef>
          </c:cat>
          <c:val>
            <c:numRef>
              <c:f>Sheet1!$C$2:$C$4</c:f>
              <c:numCache>
                <c:formatCode>General</c:formatCode>
                <c:ptCount val="3"/>
                <c:pt idx="0">
                  <c:v>1203.65</c:v>
                </c:pt>
                <c:pt idx="1">
                  <c:v>1176.64</c:v>
                </c:pt>
                <c:pt idx="2">
                  <c:v>1346.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78</c:v>
                </c:pt>
                <c:pt idx="2">
                  <c:v>IX 28</c:v>
                </c:pt>
              </c:strCache>
            </c:strRef>
          </c:cat>
          <c:val>
            <c:numRef>
              <c:f>Sheet1!$D$2:$D$4</c:f>
              <c:numCache>
                <c:formatCode>General</c:formatCode>
                <c:ptCount val="3"/>
                <c:pt idx="0">
                  <c:v>2066.18</c:v>
                </c:pt>
                <c:pt idx="1">
                  <c:v>1504.8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78</c:v>
                </c:pt>
                <c:pt idx="2">
                  <c:v>IX 28</c:v>
                </c:pt>
              </c:strCache>
            </c:strRef>
          </c:cat>
          <c:val>
            <c:numRef>
              <c:f>Sheet1!$E$2:$E$4</c:f>
              <c:numCache>
                <c:formatCode>General</c:formatCode>
                <c:ptCount val="3"/>
                <c:pt idx="0">
                  <c:v>6782.54</c:v>
                </c:pt>
                <c:pt idx="2">
                  <c:v>4747.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78</c:v>
                </c:pt>
                <c:pt idx="2">
                  <c:v>IX 28</c:v>
                </c:pt>
              </c:strCache>
            </c:strRef>
          </c:cat>
          <c:val>
            <c:numRef>
              <c:f>Sheet1!$F$2:$F$4</c:f>
              <c:numCache>
                <c:formatCode>General</c:formatCode>
                <c:ptCount val="3"/>
                <c:pt idx="0">
                  <c:v>7209.38</c:v>
                </c:pt>
                <c:pt idx="1">
                  <c:v>2972.54</c:v>
                </c:pt>
                <c:pt idx="2">
                  <c:v>10291.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1168.4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B$2:$B$5</c:f>
              <c:numCache>
                <c:formatCode>General</c:formatCode>
                <c:ptCount val="4"/>
                <c:pt idx="0">
                  <c:v>1598.77</c:v>
                </c:pt>
                <c:pt idx="1">
                  <c:v>1094.98</c:v>
                </c:pt>
                <c:pt idx="2">
                  <c:v>558.19</c:v>
                </c:pt>
                <c:pt idx="3">
                  <c:v>6026.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76.31</a:t>
                    </a:r>
                  </a:p>
                </c:rich>
              </c:tx>
              <c:dLblPos val="l"/>
              <c:showLegendKey val="0"/>
              <c:showVal val="1"/>
              <c:showCatName val="0"/>
              <c:showSerName val="0"/>
              <c:showPercent val="0"/>
              <c:showBubbleSize val="0"/>
            </c:dLbl>
            <c:dLbl>
              <c:idx val="1"/>
              <c:tx>
                <c:rich>
                  <a:bodyPr/>
                  <a:lstStyle/>
                  <a:p>
                    <a:r>
                      <a:t>IX 100</a:t>
                    </a:r>
                  </a:p>
                  <a:p>
                    <a:r>
                      <a:t>1098.51</a:t>
                    </a:r>
                  </a:p>
                </c:rich>
              </c:tx>
              <c:dLblPos val="l"/>
              <c:showLegendKey val="0"/>
              <c:showVal val="1"/>
              <c:showCatName val="0"/>
              <c:showSerName val="0"/>
              <c:showPercent val="0"/>
              <c:showBubbleSize val="0"/>
            </c:dLbl>
            <c:dLbl>
              <c:idx val="2"/>
              <c:tx>
                <c:rich>
                  <a:bodyPr/>
                  <a:lstStyle/>
                  <a:p>
                    <a:r>
                      <a:t>IX 100</a:t>
                    </a:r>
                  </a:p>
                  <a:p>
                    <a:r>
                      <a:t>553.22</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C$2:$C$5</c:f>
              <c:numCache>
                <c:formatCode>General</c:formatCode>
                <c:ptCount val="4"/>
                <c:pt idx="0">
                  <c:v>1276.31</c:v>
                </c:pt>
                <c:pt idx="1">
                  <c:v>1098.51</c:v>
                </c:pt>
                <c:pt idx="2">
                  <c:v>553.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D$2:$D$5</c:f>
              <c:numCache>
                <c:formatCode>General</c:formatCode>
                <c:ptCount val="4"/>
                <c:pt idx="0">
                  <c:v>1794.37</c:v>
                </c:pt>
                <c:pt idx="1">
                  <c:v>1259.12</c:v>
                </c:pt>
                <c:pt idx="2">
                  <c:v>581.4</c:v>
                </c:pt>
                <c:pt idx="3">
                  <c:v>6709.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E$2:$E$5</c:f>
              <c:numCache>
                <c:formatCode>General</c:formatCode>
                <c:ptCount val="4"/>
                <c:pt idx="0">
                  <c:v>6859.73</c:v>
                </c:pt>
                <c:pt idx="1">
                  <c:v>10490.0</c:v>
                </c:pt>
                <c:pt idx="2">
                  <c:v>5380.0</c:v>
                </c:pt>
                <c:pt idx="3">
                  <c:v>6924.4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100</c:v>
                </c:pt>
                <c:pt idx="2">
                  <c:v>IX 100</c:v>
                </c:pt>
                <c:pt idx="3">
                  <c:v>IX 0</c:v>
                </c:pt>
              </c:strCache>
            </c:strRef>
          </c:cat>
          <c:val>
            <c:numRef>
              <c:f>Sheet1!$F$2:$F$5</c:f>
              <c:numCache>
                <c:formatCode>General</c:formatCode>
                <c:ptCount val="4"/>
                <c:pt idx="0">
                  <c:v>7071.32</c:v>
                </c:pt>
                <c:pt idx="3">
                  <c:v>10575.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76.151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79</c:v>
                </c:pt>
                <c:pt idx="2">
                  <c:v>IX 5</c:v>
                </c:pt>
              </c:strCache>
            </c:strRef>
          </c:cat>
          <c:val>
            <c:numRef>
              <c:f>Sheet1!$B$2:$B$4</c:f>
              <c:numCache>
                <c:formatCode>General</c:formatCode>
                <c:ptCount val="3"/>
                <c:pt idx="0">
                  <c:v>1426.11</c:v>
                </c:pt>
                <c:pt idx="1">
                  <c:v>1066.37</c:v>
                </c:pt>
                <c:pt idx="2">
                  <c:v>237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218.6</a:t>
                    </a:r>
                  </a:p>
                </c:rich>
              </c:tx>
              <c:dLblPos val="l"/>
              <c:showLegendKey val="0"/>
              <c:showVal val="1"/>
              <c:showCatName val="0"/>
              <c:showSerName val="0"/>
              <c:showPercent val="0"/>
              <c:showBubbleSize val="0"/>
            </c:dLbl>
            <c:dLbl>
              <c:idx val="1"/>
              <c:tx>
                <c:rich>
                  <a:bodyPr/>
                  <a:lstStyle/>
                  <a:p>
                    <a:r>
                      <a:t>IX 79</a:t>
                    </a:r>
                  </a:p>
                  <a:p>
                    <a:r>
                      <a:t>1103.03</a:t>
                    </a:r>
                  </a:p>
                </c:rich>
              </c:tx>
              <c:dLblPos val="l"/>
              <c:showLegendKey val="0"/>
              <c:showVal val="1"/>
              <c:showCatName val="0"/>
              <c:showSerName val="0"/>
              <c:showPercent val="0"/>
              <c:showBubbleSize val="0"/>
            </c:dLbl>
            <c:dLbl>
              <c:idx val="2"/>
              <c:tx>
                <c:rich>
                  <a:bodyPr/>
                  <a:lstStyle/>
                  <a:p>
                    <a:r>
                      <a:t>IX 5</a:t>
                    </a:r>
                  </a:p>
                  <a:p>
                    <a:r>
                      <a:t>165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79</c:v>
                </c:pt>
                <c:pt idx="2">
                  <c:v>IX 5</c:v>
                </c:pt>
              </c:strCache>
            </c:strRef>
          </c:cat>
          <c:val>
            <c:numRef>
              <c:f>Sheet1!$C$2:$C$4</c:f>
              <c:numCache>
                <c:formatCode>General</c:formatCode>
                <c:ptCount val="3"/>
                <c:pt idx="0">
                  <c:v>1218.6</c:v>
                </c:pt>
                <c:pt idx="1">
                  <c:v>1103.03</c:v>
                </c:pt>
                <c:pt idx="2">
                  <c:v>165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79</c:v>
                </c:pt>
                <c:pt idx="2">
                  <c:v>IX 5</c:v>
                </c:pt>
              </c:strCache>
            </c:strRef>
          </c:cat>
          <c:val>
            <c:numRef>
              <c:f>Sheet1!$D$2:$D$4</c:f>
              <c:numCache>
                <c:formatCode>General</c:formatCode>
                <c:ptCount val="3"/>
                <c:pt idx="0">
                  <c:v>1610.09</c:v>
                </c:pt>
                <c:pt idx="1">
                  <c:v>139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79</c:v>
                </c:pt>
                <c:pt idx="2">
                  <c:v>IX 5</c:v>
                </c:pt>
              </c:strCache>
            </c:strRef>
          </c:cat>
          <c:val>
            <c:numRef>
              <c:f>Sheet1!$E$2:$E$4</c:f>
              <c:numCache>
                <c:formatCode>General</c:formatCode>
                <c:ptCount val="3"/>
                <c:pt idx="0">
                  <c:v>6622.26</c:v>
                </c:pt>
                <c:pt idx="2">
                  <c:v>327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79</c:v>
                </c:pt>
                <c:pt idx="2">
                  <c:v>IX 5</c:v>
                </c:pt>
              </c:strCache>
            </c:strRef>
          </c:cat>
          <c:val>
            <c:numRef>
              <c:f>Sheet1!$F$2:$F$4</c:f>
              <c:numCache>
                <c:formatCode>General</c:formatCode>
                <c:ptCount val="3"/>
                <c:pt idx="2">
                  <c:v>6498.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743.7"/>
          <c:min val="1065.8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1</c:v>
                </c:pt>
                <c:pt idx="2">
                  <c:v>IX 13</c:v>
                </c:pt>
              </c:strCache>
            </c:strRef>
          </c:cat>
          <c:val>
            <c:numRef>
              <c:f>Sheet1!$B$2:$B$4</c:f>
              <c:numCache>
                <c:formatCode>General</c:formatCode>
                <c:ptCount val="3"/>
                <c:pt idx="0">
                  <c:v>1650.27</c:v>
                </c:pt>
                <c:pt idx="1">
                  <c:v>1119.7</c:v>
                </c:pt>
                <c:pt idx="2">
                  <c:v>2325.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8</a:t>
                    </a:r>
                  </a:p>
                  <a:p>
                    <a:r>
                      <a:t>1215.18</a:t>
                    </a:r>
                  </a:p>
                </c:rich>
              </c:tx>
              <c:dLblPos val="l"/>
              <c:showLegendKey val="0"/>
              <c:showVal val="1"/>
              <c:showCatName val="0"/>
              <c:showSerName val="0"/>
              <c:showPercent val="0"/>
              <c:showBubbleSize val="0"/>
            </c:dLbl>
            <c:dLbl>
              <c:idx val="1"/>
              <c:tx>
                <c:rich>
                  <a:bodyPr/>
                  <a:lstStyle/>
                  <a:p>
                    <a:r>
                      <a:t>IX 81</a:t>
                    </a:r>
                  </a:p>
                  <a:p>
                    <a:r>
                      <a:t>1184.35</a:t>
                    </a:r>
                  </a:p>
                </c:rich>
              </c:tx>
              <c:dLblPos val="l"/>
              <c:showLegendKey val="0"/>
              <c:showVal val="1"/>
              <c:showCatName val="0"/>
              <c:showSerName val="0"/>
              <c:showPercent val="0"/>
              <c:showBubbleSize val="0"/>
            </c:dLbl>
            <c:dLbl>
              <c:idx val="2"/>
              <c:tx>
                <c:rich>
                  <a:bodyPr/>
                  <a:lstStyle/>
                  <a:p>
                    <a:r>
                      <a:t>IX 13</a:t>
                    </a:r>
                  </a:p>
                  <a:p>
                    <a:r>
                      <a:t>1204.8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1</c:v>
                </c:pt>
                <c:pt idx="2">
                  <c:v>IX 13</c:v>
                </c:pt>
              </c:strCache>
            </c:strRef>
          </c:cat>
          <c:val>
            <c:numRef>
              <c:f>Sheet1!$C$2:$C$4</c:f>
              <c:numCache>
                <c:formatCode>General</c:formatCode>
                <c:ptCount val="3"/>
                <c:pt idx="0">
                  <c:v>1215.18</c:v>
                </c:pt>
                <c:pt idx="1">
                  <c:v>1184.35</c:v>
                </c:pt>
                <c:pt idx="2">
                  <c:v>1204.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1</c:v>
                </c:pt>
                <c:pt idx="2">
                  <c:v>IX 13</c:v>
                </c:pt>
              </c:strCache>
            </c:strRef>
          </c:cat>
          <c:val>
            <c:numRef>
              <c:f>Sheet1!$D$2:$D$4</c:f>
              <c:numCache>
                <c:formatCode>General</c:formatCode>
                <c:ptCount val="3"/>
                <c:pt idx="0">
                  <c:v>1795.46</c:v>
                </c:pt>
                <c:pt idx="1">
                  <c:v>1459.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1</c:v>
                </c:pt>
                <c:pt idx="2">
                  <c:v>IX 13</c:v>
                </c:pt>
              </c:strCache>
            </c:strRef>
          </c:cat>
          <c:val>
            <c:numRef>
              <c:f>Sheet1!$E$2:$E$4</c:f>
              <c:numCache>
                <c:formatCode>General</c:formatCode>
                <c:ptCount val="3"/>
                <c:pt idx="0">
                  <c:v>6210.08</c:v>
                </c:pt>
                <c:pt idx="2">
                  <c:v>910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1</c:v>
                </c:pt>
                <c:pt idx="2">
                  <c:v>IX 13</c:v>
                </c:pt>
              </c:strCache>
            </c:strRef>
          </c:cat>
          <c:val>
            <c:numRef>
              <c:f>Sheet1!$F$2:$F$4</c:f>
              <c:numCache>
                <c:formatCode>General</c:formatCode>
                <c:ptCount val="3"/>
                <c:pt idx="0">
                  <c:v>6820.15</c:v>
                </c:pt>
                <c:pt idx="1">
                  <c:v>4002.87</c:v>
                </c:pt>
                <c:pt idx="2">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1119.20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5</c:v>
                </c:pt>
                <c:pt idx="2">
                  <c:v>IX 14</c:v>
                </c:pt>
              </c:strCache>
            </c:strRef>
          </c:cat>
          <c:val>
            <c:numRef>
              <c:f>Sheet1!$B$2:$B$4</c:f>
              <c:numCache>
                <c:formatCode>General</c:formatCode>
                <c:ptCount val="3"/>
                <c:pt idx="0">
                  <c:v>1665.94</c:v>
                </c:pt>
                <c:pt idx="1">
                  <c:v>1145.37</c:v>
                </c:pt>
                <c:pt idx="2">
                  <c:v>2278.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75.47</a:t>
                    </a:r>
                  </a:p>
                </c:rich>
              </c:tx>
              <c:dLblPos val="l"/>
              <c:showLegendKey val="0"/>
              <c:showVal val="1"/>
              <c:showCatName val="0"/>
              <c:showSerName val="0"/>
              <c:showPercent val="0"/>
              <c:showBubbleSize val="0"/>
            </c:dLbl>
            <c:dLbl>
              <c:idx val="1"/>
              <c:tx>
                <c:rich>
                  <a:bodyPr/>
                  <a:lstStyle/>
                  <a:p>
                    <a:r>
                      <a:t>IX 85</a:t>
                    </a:r>
                  </a:p>
                  <a:p>
                    <a:r>
                      <a:t>1284.7</a:t>
                    </a:r>
                  </a:p>
                </c:rich>
              </c:tx>
              <c:dLblPos val="l"/>
              <c:showLegendKey val="0"/>
              <c:showVal val="1"/>
              <c:showCatName val="0"/>
              <c:showSerName val="0"/>
              <c:showPercent val="0"/>
              <c:showBubbleSize val="0"/>
            </c:dLbl>
            <c:dLbl>
              <c:idx val="2"/>
              <c:tx>
                <c:rich>
                  <a:bodyPr/>
                  <a:lstStyle/>
                  <a:p>
                    <a:r>
                      <a:t>IX 14</a:t>
                    </a:r>
                  </a:p>
                  <a:p>
                    <a:r>
                      <a:t>1270.2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5</c:v>
                </c:pt>
                <c:pt idx="2">
                  <c:v>IX 14</c:v>
                </c:pt>
              </c:strCache>
            </c:strRef>
          </c:cat>
          <c:val>
            <c:numRef>
              <c:f>Sheet1!$C$2:$C$4</c:f>
              <c:numCache>
                <c:formatCode>General</c:formatCode>
                <c:ptCount val="3"/>
                <c:pt idx="0">
                  <c:v>1275.47</c:v>
                </c:pt>
                <c:pt idx="1">
                  <c:v>1284.7</c:v>
                </c:pt>
                <c:pt idx="2">
                  <c:v>1270.2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5</c:v>
                </c:pt>
                <c:pt idx="2">
                  <c:v>IX 14</c:v>
                </c:pt>
              </c:strCache>
            </c:strRef>
          </c:cat>
          <c:val>
            <c:numRef>
              <c:f>Sheet1!$D$2:$D$4</c:f>
              <c:numCache>
                <c:formatCode>General</c:formatCode>
                <c:ptCount val="3"/>
                <c:pt idx="0">
                  <c:v>1840.41</c:v>
                </c:pt>
                <c:pt idx="1">
                  <c:v>1512.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5</c:v>
                </c:pt>
                <c:pt idx="2">
                  <c:v>IX 14</c:v>
                </c:pt>
              </c:strCache>
            </c:strRef>
          </c:cat>
          <c:val>
            <c:numRef>
              <c:f>Sheet1!$E$2:$E$4</c:f>
              <c:numCache>
                <c:formatCode>General</c:formatCode>
                <c:ptCount val="3"/>
                <c:pt idx="0">
                  <c:v>6176.77</c:v>
                </c:pt>
                <c:pt idx="2">
                  <c:v>9039.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5</c:v>
                </c:pt>
                <c:pt idx="2">
                  <c:v>IX 14</c:v>
                </c:pt>
              </c:strCache>
            </c:strRef>
          </c:cat>
          <c:val>
            <c:numRef>
              <c:f>Sheet1!$F$2:$F$4</c:f>
              <c:numCache>
                <c:formatCode>General</c:formatCode>
                <c:ptCount val="3"/>
                <c:pt idx="0">
                  <c:v>7062.0</c:v>
                </c:pt>
                <c:pt idx="1">
                  <c:v>3665.33</c:v>
                </c:pt>
                <c:pt idx="2">
                  <c:v>15252.6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253.125"/>
          <c:min val="1144.86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87</c:v>
                </c:pt>
                <c:pt idx="2">
                  <c:v>IX 100</c:v>
                </c:pt>
              </c:strCache>
            </c:strRef>
          </c:cat>
          <c:val>
            <c:numRef>
              <c:f>Sheet1!$B$2:$B$4</c:f>
              <c:numCache>
                <c:formatCode>General</c:formatCode>
                <c:ptCount val="3"/>
                <c:pt idx="0">
                  <c:v>1620.38</c:v>
                </c:pt>
                <c:pt idx="1">
                  <c:v>1211.63</c:v>
                </c:pt>
                <c:pt idx="2">
                  <c:v>21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300.89</a:t>
                    </a:r>
                  </a:p>
                </c:rich>
              </c:tx>
              <c:dLblPos val="l"/>
              <c:showLegendKey val="0"/>
              <c:showVal val="1"/>
              <c:showCatName val="0"/>
              <c:showSerName val="0"/>
              <c:showPercent val="0"/>
              <c:showBubbleSize val="0"/>
            </c:dLbl>
            <c:dLbl>
              <c:idx val="1"/>
              <c:tx>
                <c:rich>
                  <a:bodyPr/>
                  <a:lstStyle/>
                  <a:p>
                    <a:r>
                      <a:t>IX 87</a:t>
                    </a:r>
                  </a:p>
                  <a:p>
                    <a:r>
                      <a:t>1296.75</a:t>
                    </a:r>
                  </a:p>
                </c:rich>
              </c:tx>
              <c:dLblPos val="l"/>
              <c:showLegendKey val="0"/>
              <c:showVal val="1"/>
              <c:showCatName val="0"/>
              <c:showSerName val="0"/>
              <c:showPercent val="0"/>
              <c:showBubbleSize val="0"/>
            </c:dLbl>
            <c:dLbl>
              <c:idx val="2"/>
              <c:tx>
                <c:rich>
                  <a:bodyPr/>
                  <a:lstStyle/>
                  <a:p>
                    <a:r>
                      <a:t>IX 100</a:t>
                    </a:r>
                  </a:p>
                  <a:p>
                    <a:r>
                      <a:t>1522.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87</c:v>
                </c:pt>
                <c:pt idx="2">
                  <c:v>IX 100</c:v>
                </c:pt>
              </c:strCache>
            </c:strRef>
          </c:cat>
          <c:val>
            <c:numRef>
              <c:f>Sheet1!$C$2:$C$4</c:f>
              <c:numCache>
                <c:formatCode>General</c:formatCode>
                <c:ptCount val="3"/>
                <c:pt idx="0">
                  <c:v>1300.89</c:v>
                </c:pt>
                <c:pt idx="1">
                  <c:v>1296.75</c:v>
                </c:pt>
                <c:pt idx="2">
                  <c:v>1522.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87</c:v>
                </c:pt>
                <c:pt idx="2">
                  <c:v>IX 100</c:v>
                </c:pt>
              </c:strCache>
            </c:strRef>
          </c:cat>
          <c:val>
            <c:numRef>
              <c:f>Sheet1!$D$2:$D$4</c:f>
              <c:numCache>
                <c:formatCode>General</c:formatCode>
                <c:ptCount val="3"/>
                <c:pt idx="0">
                  <c:v>1805.3</c:v>
                </c:pt>
                <c:pt idx="1">
                  <c:v>1496.9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87</c:v>
                </c:pt>
                <c:pt idx="2">
                  <c:v>IX 100</c:v>
                </c:pt>
              </c:strCache>
            </c:strRef>
          </c:cat>
          <c:val>
            <c:numRef>
              <c:f>Sheet1!$E$2:$E$4</c:f>
              <c:numCache>
                <c:formatCode>General</c:formatCode>
                <c:ptCount val="3"/>
                <c:pt idx="0">
                  <c:v>6749.32</c:v>
                </c:pt>
                <c:pt idx="2">
                  <c:v>8410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87</c:v>
                </c:pt>
                <c:pt idx="2">
                  <c:v>IX 100</c:v>
                </c:pt>
              </c:strCache>
            </c:strRef>
          </c:cat>
          <c:val>
            <c:numRef>
              <c:f>Sheet1!$F$2:$F$4</c:f>
              <c:numCache>
                <c:formatCode>General</c:formatCode>
                <c:ptCount val="3"/>
                <c:pt idx="2">
                  <c:v>12740.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10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12</c:v>
                </c:pt>
              </c:strCache>
            </c:strRef>
          </c:cat>
          <c:val>
            <c:numRef>
              <c:f>Sheet1!$B$2:$B$4</c:f>
              <c:numCache>
                <c:formatCode>General</c:formatCode>
                <c:ptCount val="3"/>
                <c:pt idx="0">
                  <c:v>1688.72</c:v>
                </c:pt>
                <c:pt idx="1">
                  <c:v>1129.52</c:v>
                </c:pt>
                <c:pt idx="2">
                  <c:v>2310.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14.04</a:t>
                    </a:r>
                  </a:p>
                </c:rich>
              </c:tx>
              <c:dLblPos val="l"/>
              <c:showLegendKey val="0"/>
              <c:showVal val="1"/>
              <c:showCatName val="0"/>
              <c:showSerName val="0"/>
              <c:showPercent val="0"/>
              <c:showBubbleSize val="0"/>
            </c:dLbl>
            <c:dLbl>
              <c:idx val="1"/>
              <c:tx>
                <c:rich>
                  <a:bodyPr/>
                  <a:lstStyle/>
                  <a:p>
                    <a:r>
                      <a:t>IX 41</a:t>
                    </a:r>
                  </a:p>
                  <a:p>
                    <a:r>
                      <a:t>589.35</a:t>
                    </a:r>
                  </a:p>
                </c:rich>
              </c:tx>
              <c:dLblPos val="l"/>
              <c:showLegendKey val="0"/>
              <c:showVal val="1"/>
              <c:showCatName val="0"/>
              <c:showSerName val="0"/>
              <c:showPercent val="0"/>
              <c:showBubbleSize val="0"/>
            </c:dLbl>
            <c:dLbl>
              <c:idx val="2"/>
              <c:tx>
                <c:rich>
                  <a:bodyPr/>
                  <a:lstStyle/>
                  <a:p>
                    <a:r>
                      <a:t>IX 12</a:t>
                    </a:r>
                  </a:p>
                  <a:p>
                    <a:r>
                      <a:t>854.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12</c:v>
                </c:pt>
              </c:strCache>
            </c:strRef>
          </c:cat>
          <c:val>
            <c:numRef>
              <c:f>Sheet1!$C$2:$C$4</c:f>
              <c:numCache>
                <c:formatCode>General</c:formatCode>
                <c:ptCount val="3"/>
                <c:pt idx="0">
                  <c:v>1214.04</c:v>
                </c:pt>
                <c:pt idx="1">
                  <c:v>589.35</c:v>
                </c:pt>
                <c:pt idx="2">
                  <c:v>854.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12</c:v>
                </c:pt>
              </c:strCache>
            </c:strRef>
          </c:cat>
          <c:val>
            <c:numRef>
              <c:f>Sheet1!$D$2:$D$4</c:f>
              <c:numCache>
                <c:formatCode>General</c:formatCode>
                <c:ptCount val="3"/>
                <c:pt idx="0">
                  <c:v>1702.2</c:v>
                </c:pt>
                <c:pt idx="1">
                  <c:v>1449.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12</c:v>
                </c:pt>
              </c:strCache>
            </c:strRef>
          </c:cat>
          <c:val>
            <c:numRef>
              <c:f>Sheet1!$E$2:$E$4</c:f>
              <c:numCache>
                <c:formatCode>General</c:formatCode>
                <c:ptCount val="3"/>
                <c:pt idx="0">
                  <c:v>6566.42</c:v>
                </c:pt>
                <c:pt idx="2">
                  <c:v>7136.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12</c:v>
                </c:pt>
              </c:strCache>
            </c:strRef>
          </c:cat>
          <c:val>
            <c:numRef>
              <c:f>Sheet1!$F$2:$F$4</c:f>
              <c:numCache>
                <c:formatCode>General</c:formatCode>
                <c:ptCount val="3"/>
                <c:pt idx="0">
                  <c:v>10420.68</c:v>
                </c:pt>
                <c:pt idx="1">
                  <c:v>4604.09</c:v>
                </c:pt>
                <c:pt idx="2">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4</c:v>
                </c:pt>
                <c:pt idx="2">
                  <c:v>IX 22</c:v>
                </c:pt>
              </c:strCache>
            </c:strRef>
          </c:cat>
          <c:val>
            <c:numRef>
              <c:f>Sheet1!$B$2:$B$4</c:f>
              <c:numCache>
                <c:formatCode>General</c:formatCode>
                <c:ptCount val="3"/>
                <c:pt idx="0">
                  <c:v>1688.72</c:v>
                </c:pt>
                <c:pt idx="1">
                  <c:v>1129.52</c:v>
                </c:pt>
                <c:pt idx="2">
                  <c:v>2310.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14.02</a:t>
                    </a:r>
                  </a:p>
                </c:rich>
              </c:tx>
              <c:dLblPos val="l"/>
              <c:showLegendKey val="0"/>
              <c:showVal val="1"/>
              <c:showCatName val="0"/>
              <c:showSerName val="0"/>
              <c:showPercent val="0"/>
              <c:showBubbleSize val="0"/>
            </c:dLbl>
            <c:dLbl>
              <c:idx val="1"/>
              <c:tx>
                <c:rich>
                  <a:bodyPr/>
                  <a:lstStyle/>
                  <a:p>
                    <a:r>
                      <a:t>IX 84</a:t>
                    </a:r>
                  </a:p>
                  <a:p>
                    <a:r>
                      <a:t>1218.68</a:t>
                    </a:r>
                  </a:p>
                </c:rich>
              </c:tx>
              <c:dLblPos val="l"/>
              <c:showLegendKey val="0"/>
              <c:showVal val="1"/>
              <c:showCatName val="0"/>
              <c:showSerName val="0"/>
              <c:showPercent val="0"/>
              <c:showBubbleSize val="0"/>
            </c:dLbl>
            <c:dLbl>
              <c:idx val="2"/>
              <c:tx>
                <c:rich>
                  <a:bodyPr/>
                  <a:lstStyle/>
                  <a:p>
                    <a:r>
                      <a:t>IX 22</a:t>
                    </a:r>
                  </a:p>
                  <a:p>
                    <a:r>
                      <a:t>1555.7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4</c:v>
                </c:pt>
                <c:pt idx="2">
                  <c:v>IX 22</c:v>
                </c:pt>
              </c:strCache>
            </c:strRef>
          </c:cat>
          <c:val>
            <c:numRef>
              <c:f>Sheet1!$C$2:$C$4</c:f>
              <c:numCache>
                <c:formatCode>General</c:formatCode>
                <c:ptCount val="3"/>
                <c:pt idx="0">
                  <c:v>1214.02</c:v>
                </c:pt>
                <c:pt idx="1">
                  <c:v>1218.68</c:v>
                </c:pt>
                <c:pt idx="2">
                  <c:v>1555.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4</c:v>
                </c:pt>
                <c:pt idx="2">
                  <c:v>IX 22</c:v>
                </c:pt>
              </c:strCache>
            </c:strRef>
          </c:cat>
          <c:val>
            <c:numRef>
              <c:f>Sheet1!$D$2:$D$4</c:f>
              <c:numCache>
                <c:formatCode>General</c:formatCode>
                <c:ptCount val="3"/>
                <c:pt idx="0">
                  <c:v>1702.2</c:v>
                </c:pt>
                <c:pt idx="1">
                  <c:v>1449.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4</c:v>
                </c:pt>
                <c:pt idx="2">
                  <c:v>IX 22</c:v>
                </c:pt>
              </c:strCache>
            </c:strRef>
          </c:cat>
          <c:val>
            <c:numRef>
              <c:f>Sheet1!$E$2:$E$4</c:f>
              <c:numCache>
                <c:formatCode>General</c:formatCode>
                <c:ptCount val="3"/>
                <c:pt idx="0">
                  <c:v>6566.42</c:v>
                </c:pt>
                <c:pt idx="2">
                  <c:v>7136.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4</c:v>
                </c:pt>
                <c:pt idx="2">
                  <c:v>IX 22</c:v>
                </c:pt>
              </c:strCache>
            </c:strRef>
          </c:cat>
          <c:val>
            <c:numRef>
              <c:f>Sheet1!$F$2:$F$4</c:f>
              <c:numCache>
                <c:formatCode>General</c:formatCode>
                <c:ptCount val="3"/>
                <c:pt idx="0">
                  <c:v>10420.68</c:v>
                </c:pt>
                <c:pt idx="1">
                  <c:v>4604.09</c:v>
                </c:pt>
                <c:pt idx="2">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B$2:$B$4</c:f>
              <c:numCache>
                <c:formatCode>General</c:formatCode>
                <c:ptCount val="3"/>
                <c:pt idx="0">
                  <c:v>1688.72</c:v>
                </c:pt>
                <c:pt idx="1">
                  <c:v>1129.52</c:v>
                </c:pt>
                <c:pt idx="2">
                  <c:v>2310.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36</a:t>
                    </a:r>
                  </a:p>
                  <a:p>
                    <a:r>
                      <a:t>4025.5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C$2:$C$4</c:f>
              <c:numCache>
                <c:formatCode>General</c:formatCode>
                <c:ptCount val="3"/>
                <c:pt idx="0">
                  <c:v>4025.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D$2:$D$4</c:f>
              <c:numCache>
                <c:formatCode>General</c:formatCode>
                <c:ptCount val="3"/>
                <c:pt idx="0">
                  <c:v>1702.2</c:v>
                </c:pt>
                <c:pt idx="1">
                  <c:v>1449.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E$2:$E$4</c:f>
              <c:numCache>
                <c:formatCode>General</c:formatCode>
                <c:ptCount val="3"/>
                <c:pt idx="0">
                  <c:v>6566.42</c:v>
                </c:pt>
                <c:pt idx="2">
                  <c:v>7136.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6</c:v>
                </c:pt>
                <c:pt idx="1">
                  <c:v/>
                </c:pt>
                <c:pt idx="2">
                  <c:v/>
                </c:pt>
              </c:strCache>
            </c:strRef>
          </c:cat>
          <c:val>
            <c:numRef>
              <c:f>Sheet1!$F$2:$F$4</c:f>
              <c:numCache>
                <c:formatCode>General</c:formatCode>
                <c:ptCount val="3"/>
                <c:pt idx="0">
                  <c:v>10420.68</c:v>
                </c:pt>
                <c:pt idx="1">
                  <c:v>4604.09</c:v>
                </c:pt>
                <c:pt idx="2">
                  <c:v>15126.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5127.11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B$2:$B$4</c:f>
              <c:numCache>
                <c:formatCode>General</c:formatCode>
                <c:ptCount val="3"/>
                <c:pt idx="0">
                  <c:v>1720.68</c:v>
                </c:pt>
                <c:pt idx="1">
                  <c:v>1113.21</c:v>
                </c:pt>
                <c:pt idx="2">
                  <c:v>2155.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21.07</a:t>
                    </a:r>
                  </a:p>
                </c:rich>
              </c:tx>
              <c:dLblPos val="l"/>
              <c:showLegendKey val="0"/>
              <c:showVal val="1"/>
              <c:showCatName val="0"/>
              <c:showSerName val="0"/>
              <c:showPercent val="0"/>
              <c:showBubbleSize val="0"/>
            </c:dLbl>
            <c:dLbl>
              <c:idx val="1"/>
              <c:tx>
                <c:rich>
                  <a:bodyPr/>
                  <a:lstStyle/>
                  <a:p>
                    <a:r>
                      <a:t>IX 41</a:t>
                    </a:r>
                  </a:p>
                  <a:p>
                    <a:r>
                      <a:t>584.1</a:t>
                    </a:r>
                  </a:p>
                </c:rich>
              </c:tx>
              <c:dLblPos val="l"/>
              <c:showLegendKey val="0"/>
              <c:showVal val="1"/>
              <c:showCatName val="0"/>
              <c:showSerName val="0"/>
              <c:showPercent val="0"/>
              <c:showBubbleSize val="0"/>
            </c:dLbl>
            <c:dLbl>
              <c:idx val="2"/>
              <c:tx>
                <c:rich>
                  <a:bodyPr/>
                  <a:lstStyle/>
                  <a:p>
                    <a:r>
                      <a:t>IX 8</a:t>
                    </a:r>
                  </a:p>
                  <a:p>
                    <a:r>
                      <a:t>787.5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C$2:$C$4</c:f>
              <c:numCache>
                <c:formatCode>General</c:formatCode>
                <c:ptCount val="3"/>
                <c:pt idx="0">
                  <c:v>1221.07</c:v>
                </c:pt>
                <c:pt idx="1">
                  <c:v>584.1</c:v>
                </c:pt>
                <c:pt idx="2">
                  <c:v>787.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D$2:$D$4</c:f>
              <c:numCache>
                <c:formatCode>General</c:formatCode>
                <c:ptCount val="3"/>
                <c:pt idx="0">
                  <c:v>1725.59</c:v>
                </c:pt>
                <c:pt idx="1">
                  <c:v>144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E$2:$E$4</c:f>
              <c:numCache>
                <c:formatCode>General</c:formatCode>
                <c:ptCount val="3"/>
                <c:pt idx="0">
                  <c:v>6740.59</c:v>
                </c:pt>
                <c:pt idx="2">
                  <c:v>989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F$2:$F$4</c:f>
              <c:numCache>
                <c:formatCode>General</c:formatCode>
                <c:ptCount val="3"/>
                <c:pt idx="1">
                  <c:v>24281.0</c:v>
                </c:pt>
                <c:pt idx="2">
                  <c:v>6250.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81.5"/>
          <c:min val="583.59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5</c:v>
                </c:pt>
                <c:pt idx="2">
                  <c:v>IX 16</c:v>
                </c:pt>
              </c:strCache>
            </c:strRef>
          </c:cat>
          <c:val>
            <c:numRef>
              <c:f>Sheet1!$B$2:$B$4</c:f>
              <c:numCache>
                <c:formatCode>General</c:formatCode>
                <c:ptCount val="3"/>
                <c:pt idx="0">
                  <c:v>1720.68</c:v>
                </c:pt>
                <c:pt idx="1">
                  <c:v>1113.21</c:v>
                </c:pt>
                <c:pt idx="2">
                  <c:v>2155.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8</a:t>
                    </a:r>
                  </a:p>
                  <a:p>
                    <a:r>
                      <a:t>1172.36</a:t>
                    </a:r>
                  </a:p>
                </c:rich>
              </c:tx>
              <c:dLblPos val="l"/>
              <c:showLegendKey val="0"/>
              <c:showVal val="1"/>
              <c:showCatName val="0"/>
              <c:showSerName val="0"/>
              <c:showPercent val="0"/>
              <c:showBubbleSize val="0"/>
            </c:dLbl>
            <c:dLbl>
              <c:idx val="1"/>
              <c:tx>
                <c:rich>
                  <a:bodyPr/>
                  <a:lstStyle/>
                  <a:p>
                    <a:r>
                      <a:t>IX 85</a:t>
                    </a:r>
                  </a:p>
                  <a:p>
                    <a:r>
                      <a:t>1222.9</a:t>
                    </a:r>
                  </a:p>
                </c:rich>
              </c:tx>
              <c:dLblPos val="l"/>
              <c:showLegendKey val="0"/>
              <c:showVal val="1"/>
              <c:showCatName val="0"/>
              <c:showSerName val="0"/>
              <c:showPercent val="0"/>
              <c:showBubbleSize val="0"/>
            </c:dLbl>
            <c:dLbl>
              <c:idx val="2"/>
              <c:tx>
                <c:rich>
                  <a:bodyPr/>
                  <a:lstStyle/>
                  <a:p>
                    <a:r>
                      <a:t>IX 16</a:t>
                    </a:r>
                  </a:p>
                  <a:p>
                    <a:r>
                      <a:t>1542.3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5</c:v>
                </c:pt>
                <c:pt idx="2">
                  <c:v>IX 16</c:v>
                </c:pt>
              </c:strCache>
            </c:strRef>
          </c:cat>
          <c:val>
            <c:numRef>
              <c:f>Sheet1!$C$2:$C$4</c:f>
              <c:numCache>
                <c:formatCode>General</c:formatCode>
                <c:ptCount val="3"/>
                <c:pt idx="0">
                  <c:v>1172.36</c:v>
                </c:pt>
                <c:pt idx="1">
                  <c:v>1222.9</c:v>
                </c:pt>
                <c:pt idx="2">
                  <c:v>1542.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5</c:v>
                </c:pt>
                <c:pt idx="2">
                  <c:v>IX 16</c:v>
                </c:pt>
              </c:strCache>
            </c:strRef>
          </c:cat>
          <c:val>
            <c:numRef>
              <c:f>Sheet1!$D$2:$D$4</c:f>
              <c:numCache>
                <c:formatCode>General</c:formatCode>
                <c:ptCount val="3"/>
                <c:pt idx="0">
                  <c:v>1725.59</c:v>
                </c:pt>
                <c:pt idx="1">
                  <c:v>144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5</c:v>
                </c:pt>
                <c:pt idx="2">
                  <c:v>IX 16</c:v>
                </c:pt>
              </c:strCache>
            </c:strRef>
          </c:cat>
          <c:val>
            <c:numRef>
              <c:f>Sheet1!$E$2:$E$4</c:f>
              <c:numCache>
                <c:formatCode>General</c:formatCode>
                <c:ptCount val="3"/>
                <c:pt idx="0">
                  <c:v>6740.59</c:v>
                </c:pt>
                <c:pt idx="2">
                  <c:v>989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85</c:v>
                </c:pt>
                <c:pt idx="2">
                  <c:v>IX 16</c:v>
                </c:pt>
              </c:strCache>
            </c:strRef>
          </c:cat>
          <c:val>
            <c:numRef>
              <c:f>Sheet1!$F$2:$F$4</c:f>
              <c:numCache>
                <c:formatCode>General</c:formatCode>
                <c:ptCount val="3"/>
                <c:pt idx="1">
                  <c:v>24281.0</c:v>
                </c:pt>
                <c:pt idx="2">
                  <c:v>6250.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81.5"/>
          <c:min val="1112.707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720.68</c:v>
                </c:pt>
                <c:pt idx="1">
                  <c:v>1113.21</c:v>
                </c:pt>
                <c:pt idx="2">
                  <c:v>2155.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2</a:t>
                    </a:r>
                  </a:p>
                  <a:p>
                    <a:r>
                      <a:t>4341.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34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725.59</c:v>
                </c:pt>
                <c:pt idx="1">
                  <c:v>144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6740.59</c:v>
                </c:pt>
                <c:pt idx="2">
                  <c:v>9892.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1">
                  <c:v>24281.0</c:v>
                </c:pt>
                <c:pt idx="2">
                  <c:v>6250.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281.5"/>
          <c:min val="1112.707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IX 37</c:v>
                </c:pt>
              </c:strCache>
            </c:strRef>
          </c:cat>
          <c:val>
            <c:numRef>
              <c:f>Sheet1!$B$2:$B$5</c:f>
              <c:numCache>
                <c:formatCode>General</c:formatCode>
                <c:ptCount val="4"/>
                <c:pt idx="0">
                  <c:v>1573.0</c:v>
                </c:pt>
                <c:pt idx="1">
                  <c:v>1142.43</c:v>
                </c:pt>
                <c:pt idx="2">
                  <c:v>580.67</c:v>
                </c:pt>
                <c:pt idx="3">
                  <c:v>3912.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301.14</a:t>
                    </a:r>
                  </a:p>
                </c:rich>
              </c:tx>
              <c:dLblPos val="l"/>
              <c:showLegendKey val="0"/>
              <c:showVal val="1"/>
              <c:showCatName val="0"/>
              <c:showSerName val="0"/>
              <c:showPercent val="0"/>
              <c:showBubbleSize val="0"/>
            </c:dLbl>
            <c:dLbl>
              <c:idx val="1"/>
              <c:tx>
                <c:rich>
                  <a:bodyPr/>
                  <a:lstStyle/>
                  <a:p>
                    <a:r>
                      <a:t>IX 100</a:t>
                    </a:r>
                  </a:p>
                  <a:p>
                    <a:r>
                      <a:t>1077.55</a:t>
                    </a:r>
                  </a:p>
                </c:rich>
              </c:tx>
              <c:dLblPos val="l"/>
              <c:showLegendKey val="0"/>
              <c:showVal val="1"/>
              <c:showCatName val="0"/>
              <c:showSerName val="0"/>
              <c:showPercent val="0"/>
              <c:showBubbleSize val="0"/>
            </c:dLbl>
            <c:dLbl>
              <c:idx val="2"/>
              <c:tx>
                <c:rich>
                  <a:bodyPr/>
                  <a:lstStyle/>
                  <a:p>
                    <a:r>
                      <a:t>IX 100</a:t>
                    </a:r>
                  </a:p>
                  <a:p>
                    <a:r>
                      <a:t>552.64</a:t>
                    </a:r>
                  </a:p>
                </c:rich>
              </c:tx>
              <c:dLblPos val="l"/>
              <c:showLegendKey val="0"/>
              <c:showVal val="1"/>
              <c:showCatName val="0"/>
              <c:showSerName val="0"/>
              <c:showPercent val="0"/>
              <c:showBubbleSize val="0"/>
            </c:dLbl>
            <c:dLbl>
              <c:idx val="3"/>
              <c:tx>
                <c:rich>
                  <a:bodyPr/>
                  <a:lstStyle/>
                  <a:p>
                    <a:r>
                      <a:t>IX 37</a:t>
                    </a:r>
                  </a:p>
                  <a:p>
                    <a:r>
                      <a:t>1382.5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IX 37</c:v>
                </c:pt>
              </c:strCache>
            </c:strRef>
          </c:cat>
          <c:val>
            <c:numRef>
              <c:f>Sheet1!$C$2:$C$5</c:f>
              <c:numCache>
                <c:formatCode>General</c:formatCode>
                <c:ptCount val="4"/>
                <c:pt idx="0">
                  <c:v>1301.14</c:v>
                </c:pt>
                <c:pt idx="1">
                  <c:v>1077.55</c:v>
                </c:pt>
                <c:pt idx="2">
                  <c:v>552.64</c:v>
                </c:pt>
                <c:pt idx="3">
                  <c:v>1382.5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IX 37</c:v>
                </c:pt>
              </c:strCache>
            </c:strRef>
          </c:cat>
          <c:val>
            <c:numRef>
              <c:f>Sheet1!$D$2:$D$5</c:f>
              <c:numCache>
                <c:formatCode>General</c:formatCode>
                <c:ptCount val="4"/>
                <c:pt idx="0">
                  <c:v>1765.54</c:v>
                </c:pt>
                <c:pt idx="1">
                  <c:v>1262.58</c:v>
                </c:pt>
                <c:pt idx="2">
                  <c:v>565.69</c:v>
                </c:pt>
                <c:pt idx="3">
                  <c:v>4503.0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IX 37</c:v>
                </c:pt>
              </c:strCache>
            </c:strRef>
          </c:cat>
          <c:val>
            <c:numRef>
              <c:f>Sheet1!$E$2:$E$5</c:f>
              <c:numCache>
                <c:formatCode>General</c:formatCode>
                <c:ptCount val="4"/>
                <c:pt idx="0">
                  <c:v>6777.82</c:v>
                </c:pt>
                <c:pt idx="3">
                  <c:v>10428.8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laxosmithkli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4</c:v>
                </c:pt>
                <c:pt idx="1">
                  <c:v>IX 100</c:v>
                </c:pt>
                <c:pt idx="2">
                  <c:v>IX 100</c:v>
                </c:pt>
                <c:pt idx="3">
                  <c:v>IX 37</c:v>
                </c:pt>
              </c:strCache>
            </c:strRef>
          </c:cat>
          <c:val>
            <c:numRef>
              <c:f>Sheet1!$F$2:$F$5</c:f>
              <c:numCache>
                <c:formatCode>General</c:formatCode>
                <c:ptCount val="4"/>
                <c:pt idx="0">
                  <c:v>4215.67</c:v>
                </c:pt>
                <c:pt idx="3">
                  <c:v>3699.9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29.388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49</c:v>
                </c:pt>
                <c:pt idx="2">
                  <c:v>IX 20</c:v>
                </c:pt>
              </c:strCache>
            </c:strRef>
          </c:cat>
          <c:val>
            <c:numRef>
              <c:f>Sheet1!$B$2:$B$4</c:f>
              <c:numCache>
                <c:formatCode>General</c:formatCode>
                <c:ptCount val="3"/>
                <c:pt idx="0">
                  <c:v>2092.93</c:v>
                </c:pt>
                <c:pt idx="1">
                  <c:v>1168.93</c:v>
                </c:pt>
                <c:pt idx="2">
                  <c:v>245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5</a:t>
                    </a:r>
                  </a:p>
                  <a:p>
                    <a:r>
                      <a:t>1178.13</a:t>
                    </a:r>
                  </a:p>
                </c:rich>
              </c:tx>
              <c:dLblPos val="l"/>
              <c:showLegendKey val="0"/>
              <c:showVal val="1"/>
              <c:showCatName val="0"/>
              <c:showSerName val="0"/>
              <c:showPercent val="0"/>
              <c:showBubbleSize val="0"/>
            </c:dLbl>
            <c:dLbl>
              <c:idx val="1"/>
              <c:tx>
                <c:rich>
                  <a:bodyPr/>
                  <a:lstStyle/>
                  <a:p>
                    <a:r>
                      <a:t>IX 49</a:t>
                    </a:r>
                  </a:p>
                  <a:p>
                    <a:r>
                      <a:t>720.62</a:t>
                    </a:r>
                  </a:p>
                </c:rich>
              </c:tx>
              <c:dLblPos val="l"/>
              <c:showLegendKey val="0"/>
              <c:showVal val="1"/>
              <c:showCatName val="0"/>
              <c:showSerName val="0"/>
              <c:showPercent val="0"/>
              <c:showBubbleSize val="0"/>
            </c:dLbl>
            <c:dLbl>
              <c:idx val="2"/>
              <c:tx>
                <c:rich>
                  <a:bodyPr/>
                  <a:lstStyle/>
                  <a:p>
                    <a:r>
                      <a:t>IX 20</a:t>
                    </a:r>
                  </a:p>
                  <a:p>
                    <a:r>
                      <a:t>932.0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49</c:v>
                </c:pt>
                <c:pt idx="2">
                  <c:v>IX 20</c:v>
                </c:pt>
              </c:strCache>
            </c:strRef>
          </c:cat>
          <c:val>
            <c:numRef>
              <c:f>Sheet1!$C$2:$C$4</c:f>
              <c:numCache>
                <c:formatCode>General</c:formatCode>
                <c:ptCount val="3"/>
                <c:pt idx="0">
                  <c:v>1178.13</c:v>
                </c:pt>
                <c:pt idx="1">
                  <c:v>720.62</c:v>
                </c:pt>
                <c:pt idx="2">
                  <c:v>932.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49</c:v>
                </c:pt>
                <c:pt idx="2">
                  <c:v>IX 20</c:v>
                </c:pt>
              </c:strCache>
            </c:strRef>
          </c:cat>
          <c:val>
            <c:numRef>
              <c:f>Sheet1!$D$2:$D$4</c:f>
              <c:numCache>
                <c:formatCode>General</c:formatCode>
                <c:ptCount val="3"/>
                <c:pt idx="0">
                  <c:v>1818.78</c:v>
                </c:pt>
                <c:pt idx="1">
                  <c:v>1468.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49</c:v>
                </c:pt>
                <c:pt idx="2">
                  <c:v>IX 20</c:v>
                </c:pt>
              </c:strCache>
            </c:strRef>
          </c:cat>
          <c:val>
            <c:numRef>
              <c:f>Sheet1!$E$2:$E$4</c:f>
              <c:numCache>
                <c:formatCode>General</c:formatCode>
                <c:ptCount val="3"/>
                <c:pt idx="0">
                  <c:v>6782.54</c:v>
                </c:pt>
                <c:pt idx="2">
                  <c:v>4747.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49</c:v>
                </c:pt>
                <c:pt idx="2">
                  <c:v>IX 20</c:v>
                </c:pt>
              </c:strCache>
            </c:strRef>
          </c:cat>
          <c:val>
            <c:numRef>
              <c:f>Sheet1!$F$2:$F$4</c:f>
              <c:numCache>
                <c:formatCode>General</c:formatCode>
                <c:ptCount val="3"/>
                <c:pt idx="0">
                  <c:v>9266.23</c:v>
                </c:pt>
                <c:pt idx="1">
                  <c:v>4060.66</c:v>
                </c:pt>
                <c:pt idx="2">
                  <c:v>10291.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720.11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30</c:v>
                </c:pt>
              </c:strCache>
            </c:strRef>
          </c:cat>
          <c:val>
            <c:numRef>
              <c:f>Sheet1!$B$2:$B$4</c:f>
              <c:numCache>
                <c:formatCode>General</c:formatCode>
                <c:ptCount val="3"/>
                <c:pt idx="0">
                  <c:v>2092.93</c:v>
                </c:pt>
                <c:pt idx="1">
                  <c:v>1168.93</c:v>
                </c:pt>
                <c:pt idx="2">
                  <c:v>245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1171.46</a:t>
                    </a:r>
                  </a:p>
                </c:rich>
              </c:tx>
              <c:dLblPos val="l"/>
              <c:showLegendKey val="0"/>
              <c:showVal val="1"/>
              <c:showCatName val="0"/>
              <c:showSerName val="0"/>
              <c:showPercent val="0"/>
              <c:showBubbleSize val="0"/>
            </c:dLbl>
            <c:dLbl>
              <c:idx val="1"/>
              <c:tx>
                <c:rich>
                  <a:bodyPr/>
                  <a:lstStyle/>
                  <a:p>
                    <a:r>
                      <a:t>IX 80</a:t>
                    </a:r>
                  </a:p>
                  <a:p>
                    <a:r>
                      <a:t>1180.25</a:t>
                    </a:r>
                  </a:p>
                </c:rich>
              </c:tx>
              <c:dLblPos val="l"/>
              <c:showLegendKey val="0"/>
              <c:showVal val="1"/>
              <c:showCatName val="0"/>
              <c:showSerName val="0"/>
              <c:showPercent val="0"/>
              <c:showBubbleSize val="0"/>
            </c:dLbl>
            <c:dLbl>
              <c:idx val="2"/>
              <c:tx>
                <c:rich>
                  <a:bodyPr/>
                  <a:lstStyle/>
                  <a:p>
                    <a:r>
                      <a:t>IX 30</a:t>
                    </a:r>
                  </a:p>
                  <a:p>
                    <a:r>
                      <a:t>1434.7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30</c:v>
                </c:pt>
              </c:strCache>
            </c:strRef>
          </c:cat>
          <c:val>
            <c:numRef>
              <c:f>Sheet1!$C$2:$C$4</c:f>
              <c:numCache>
                <c:formatCode>General</c:formatCode>
                <c:ptCount val="3"/>
                <c:pt idx="0">
                  <c:v>1171.46</c:v>
                </c:pt>
                <c:pt idx="1">
                  <c:v>1180.25</c:v>
                </c:pt>
                <c:pt idx="2">
                  <c:v>1434.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30</c:v>
                </c:pt>
              </c:strCache>
            </c:strRef>
          </c:cat>
          <c:val>
            <c:numRef>
              <c:f>Sheet1!$D$2:$D$4</c:f>
              <c:numCache>
                <c:formatCode>General</c:formatCode>
                <c:ptCount val="3"/>
                <c:pt idx="0">
                  <c:v>1818.78</c:v>
                </c:pt>
                <c:pt idx="1">
                  <c:v>1468.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30</c:v>
                </c:pt>
              </c:strCache>
            </c:strRef>
          </c:cat>
          <c:val>
            <c:numRef>
              <c:f>Sheet1!$E$2:$E$4</c:f>
              <c:numCache>
                <c:formatCode>General</c:formatCode>
                <c:ptCount val="3"/>
                <c:pt idx="0">
                  <c:v>6782.54</c:v>
                </c:pt>
                <c:pt idx="2">
                  <c:v>4747.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30</c:v>
                </c:pt>
              </c:strCache>
            </c:strRef>
          </c:cat>
          <c:val>
            <c:numRef>
              <c:f>Sheet1!$F$2:$F$4</c:f>
              <c:numCache>
                <c:formatCode>General</c:formatCode>
                <c:ptCount val="3"/>
                <c:pt idx="0">
                  <c:v>9266.23</c:v>
                </c:pt>
                <c:pt idx="1">
                  <c:v>4060.66</c:v>
                </c:pt>
                <c:pt idx="2">
                  <c:v>10291.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1168.4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B$2:$B$4</c:f>
              <c:numCache>
                <c:formatCode>General</c:formatCode>
                <c:ptCount val="3"/>
                <c:pt idx="0">
                  <c:v>2092.93</c:v>
                </c:pt>
                <c:pt idx="1">
                  <c:v>1168.93</c:v>
                </c:pt>
                <c:pt idx="2">
                  <c:v>245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35</a:t>
                    </a:r>
                  </a:p>
                  <a:p>
                    <a:r>
                      <a:t>4279.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C$2:$C$4</c:f>
              <c:numCache>
                <c:formatCode>General</c:formatCode>
                <c:ptCount val="3"/>
                <c:pt idx="0">
                  <c:v>4279.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D$2:$D$4</c:f>
              <c:numCache>
                <c:formatCode>General</c:formatCode>
                <c:ptCount val="3"/>
                <c:pt idx="0">
                  <c:v>1818.78</c:v>
                </c:pt>
                <c:pt idx="1">
                  <c:v>1468.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E$2:$E$4</c:f>
              <c:numCache>
                <c:formatCode>General</c:formatCode>
                <c:ptCount val="3"/>
                <c:pt idx="0">
                  <c:v>6782.54</c:v>
                </c:pt>
                <c:pt idx="2">
                  <c:v>4747.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35</c:v>
                </c:pt>
                <c:pt idx="1">
                  <c:v/>
                </c:pt>
                <c:pt idx="2">
                  <c:v/>
                </c:pt>
              </c:strCache>
            </c:strRef>
          </c:cat>
          <c:val>
            <c:numRef>
              <c:f>Sheet1!$F$2:$F$4</c:f>
              <c:numCache>
                <c:formatCode>General</c:formatCode>
                <c:ptCount val="3"/>
                <c:pt idx="0">
                  <c:v>9266.23</c:v>
                </c:pt>
                <c:pt idx="1">
                  <c:v>4060.66</c:v>
                </c:pt>
                <c:pt idx="2">
                  <c:v>10291.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92.0357"/>
          <c:min val="1168.4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39</c:v>
                </c:pt>
                <c:pt idx="2">
                  <c:v>IX 4</c:v>
                </c:pt>
              </c:strCache>
            </c:strRef>
          </c:cat>
          <c:val>
            <c:numRef>
              <c:f>Sheet1!$B$2:$B$4</c:f>
              <c:numCache>
                <c:formatCode>General</c:formatCode>
                <c:ptCount val="3"/>
                <c:pt idx="0">
                  <c:v>1426.11</c:v>
                </c:pt>
                <c:pt idx="1">
                  <c:v>1066.37</c:v>
                </c:pt>
                <c:pt idx="2">
                  <c:v>237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5</a:t>
                    </a:r>
                  </a:p>
                  <a:p>
                    <a:r>
                      <a:t>1179.68</a:t>
                    </a:r>
                  </a:p>
                </c:rich>
              </c:tx>
              <c:dLblPos val="l"/>
              <c:showLegendKey val="0"/>
              <c:showVal val="1"/>
              <c:showCatName val="0"/>
              <c:showSerName val="0"/>
              <c:showPercent val="0"/>
              <c:showBubbleSize val="0"/>
            </c:dLbl>
            <c:dLbl>
              <c:idx val="1"/>
              <c:tx>
                <c:rich>
                  <a:bodyPr/>
                  <a:lstStyle/>
                  <a:p>
                    <a:r>
                      <a:t>IX 39</a:t>
                    </a:r>
                  </a:p>
                  <a:p>
                    <a:r>
                      <a:t>547.92</a:t>
                    </a:r>
                  </a:p>
                </c:rich>
              </c:tx>
              <c:dLblPos val="l"/>
              <c:showLegendKey val="0"/>
              <c:showVal val="1"/>
              <c:showCatName val="0"/>
              <c:showSerName val="0"/>
              <c:showPercent val="0"/>
              <c:showBubbleSize val="0"/>
            </c:dLbl>
            <c:dLbl>
              <c:idx val="2"/>
              <c:tx>
                <c:rich>
                  <a:bodyPr/>
                  <a:lstStyle/>
                  <a:p>
                    <a:r>
                      <a:t>IX 4</a:t>
                    </a:r>
                  </a:p>
                  <a:p>
                    <a:r>
                      <a:t>1172.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39</c:v>
                </c:pt>
                <c:pt idx="2">
                  <c:v>IX 4</c:v>
                </c:pt>
              </c:strCache>
            </c:strRef>
          </c:cat>
          <c:val>
            <c:numRef>
              <c:f>Sheet1!$C$2:$C$4</c:f>
              <c:numCache>
                <c:formatCode>General</c:formatCode>
                <c:ptCount val="3"/>
                <c:pt idx="0">
                  <c:v>1179.68</c:v>
                </c:pt>
                <c:pt idx="1">
                  <c:v>547.92</c:v>
                </c:pt>
                <c:pt idx="2">
                  <c:v>1172.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39</c:v>
                </c:pt>
                <c:pt idx="2">
                  <c:v>IX 4</c:v>
                </c:pt>
              </c:strCache>
            </c:strRef>
          </c:cat>
          <c:val>
            <c:numRef>
              <c:f>Sheet1!$D$2:$D$4</c:f>
              <c:numCache>
                <c:formatCode>General</c:formatCode>
                <c:ptCount val="3"/>
                <c:pt idx="0">
                  <c:v>1581.41</c:v>
                </c:pt>
                <c:pt idx="1">
                  <c:v>1398.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39</c:v>
                </c:pt>
                <c:pt idx="2">
                  <c:v>IX 4</c:v>
                </c:pt>
              </c:strCache>
            </c:strRef>
          </c:cat>
          <c:val>
            <c:numRef>
              <c:f>Sheet1!$E$2:$E$4</c:f>
              <c:numCache>
                <c:formatCode>General</c:formatCode>
                <c:ptCount val="3"/>
                <c:pt idx="0">
                  <c:v>6622.26</c:v>
                </c:pt>
                <c:pt idx="2">
                  <c:v>327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5</c:v>
                </c:pt>
                <c:pt idx="1">
                  <c:v>IX 39</c:v>
                </c:pt>
                <c:pt idx="2">
                  <c:v>IX 4</c:v>
                </c:pt>
              </c:strCache>
            </c:strRef>
          </c:cat>
          <c:val>
            <c:numRef>
              <c:f>Sheet1!$F$2:$F$4</c:f>
              <c:numCache>
                <c:formatCode>General</c:formatCode>
                <c:ptCount val="3"/>
                <c:pt idx="2">
                  <c:v>6498.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743.7"/>
          <c:min val="547.41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80</c:v>
                </c:pt>
                <c:pt idx="2">
                  <c:v>IX 6</c:v>
                </c:pt>
              </c:strCache>
            </c:strRef>
          </c:cat>
          <c:val>
            <c:numRef>
              <c:f>Sheet1!$B$2:$B$4</c:f>
              <c:numCache>
                <c:formatCode>General</c:formatCode>
                <c:ptCount val="3"/>
                <c:pt idx="0">
                  <c:v>1426.11</c:v>
                </c:pt>
                <c:pt idx="1">
                  <c:v>1066.37</c:v>
                </c:pt>
                <c:pt idx="2">
                  <c:v>237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7</a:t>
                    </a:r>
                  </a:p>
                  <a:p>
                    <a:r>
                      <a:t>1225.55</a:t>
                    </a:r>
                  </a:p>
                </c:rich>
              </c:tx>
              <c:dLblPos val="l"/>
              <c:showLegendKey val="0"/>
              <c:showVal val="1"/>
              <c:showCatName val="0"/>
              <c:showSerName val="0"/>
              <c:showPercent val="0"/>
              <c:showBubbleSize val="0"/>
            </c:dLbl>
            <c:dLbl>
              <c:idx val="1"/>
              <c:tx>
                <c:rich>
                  <a:bodyPr/>
                  <a:lstStyle/>
                  <a:p>
                    <a:r>
                      <a:t>IX 80</a:t>
                    </a:r>
                  </a:p>
                  <a:p>
                    <a:r>
                      <a:t>1115.49</a:t>
                    </a:r>
                  </a:p>
                </c:rich>
              </c:tx>
              <c:dLblPos val="l"/>
              <c:showLegendKey val="0"/>
              <c:showVal val="1"/>
              <c:showCatName val="0"/>
              <c:showSerName val="0"/>
              <c:showPercent val="0"/>
              <c:showBubbleSize val="0"/>
            </c:dLbl>
            <c:dLbl>
              <c:idx val="2"/>
              <c:tx>
                <c:rich>
                  <a:bodyPr/>
                  <a:lstStyle/>
                  <a:p>
                    <a:r>
                      <a:t>IX 6</a:t>
                    </a:r>
                  </a:p>
                  <a:p>
                    <a:r>
                      <a:t>1848.5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80</c:v>
                </c:pt>
                <c:pt idx="2">
                  <c:v>IX 6</c:v>
                </c:pt>
              </c:strCache>
            </c:strRef>
          </c:cat>
          <c:val>
            <c:numRef>
              <c:f>Sheet1!$C$2:$C$4</c:f>
              <c:numCache>
                <c:formatCode>General</c:formatCode>
                <c:ptCount val="3"/>
                <c:pt idx="0">
                  <c:v>1225.55</c:v>
                </c:pt>
                <c:pt idx="1">
                  <c:v>1115.49</c:v>
                </c:pt>
                <c:pt idx="2">
                  <c:v>1848.5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80</c:v>
                </c:pt>
                <c:pt idx="2">
                  <c:v>IX 6</c:v>
                </c:pt>
              </c:strCache>
            </c:strRef>
          </c:cat>
          <c:val>
            <c:numRef>
              <c:f>Sheet1!$D$2:$D$4</c:f>
              <c:numCache>
                <c:formatCode>General</c:formatCode>
                <c:ptCount val="3"/>
                <c:pt idx="0">
                  <c:v>1581.41</c:v>
                </c:pt>
                <c:pt idx="1">
                  <c:v>1398.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80</c:v>
                </c:pt>
                <c:pt idx="2">
                  <c:v>IX 6</c:v>
                </c:pt>
              </c:strCache>
            </c:strRef>
          </c:cat>
          <c:val>
            <c:numRef>
              <c:f>Sheet1!$E$2:$E$4</c:f>
              <c:numCache>
                <c:formatCode>General</c:formatCode>
                <c:ptCount val="3"/>
                <c:pt idx="0">
                  <c:v>6622.26</c:v>
                </c:pt>
                <c:pt idx="2">
                  <c:v>327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7</c:v>
                </c:pt>
                <c:pt idx="1">
                  <c:v>IX 80</c:v>
                </c:pt>
                <c:pt idx="2">
                  <c:v>IX 6</c:v>
                </c:pt>
              </c:strCache>
            </c:strRef>
          </c:cat>
          <c:val>
            <c:numRef>
              <c:f>Sheet1!$F$2:$F$4</c:f>
              <c:numCache>
                <c:formatCode>General</c:formatCode>
                <c:ptCount val="3"/>
                <c:pt idx="2">
                  <c:v>6498.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743.7"/>
          <c:min val="1065.8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B$2:$B$4</c:f>
              <c:numCache>
                <c:formatCode>General</c:formatCode>
                <c:ptCount val="3"/>
                <c:pt idx="0">
                  <c:v>1426.11</c:v>
                </c:pt>
                <c:pt idx="1">
                  <c:v>1066.37</c:v>
                </c:pt>
                <c:pt idx="2">
                  <c:v>237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96</a:t>
                    </a:r>
                  </a:p>
                  <a:p>
                    <a:r>
                      <a:t>3103.4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C$2:$C$4</c:f>
              <c:numCache>
                <c:formatCode>General</c:formatCode>
                <c:ptCount val="3"/>
                <c:pt idx="0">
                  <c:v>3103.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D$2:$D$4</c:f>
              <c:numCache>
                <c:formatCode>General</c:formatCode>
                <c:ptCount val="3"/>
                <c:pt idx="0">
                  <c:v>1581.41</c:v>
                </c:pt>
                <c:pt idx="1">
                  <c:v>1398.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E$2:$E$4</c:f>
              <c:numCache>
                <c:formatCode>General</c:formatCode>
                <c:ptCount val="3"/>
                <c:pt idx="0">
                  <c:v>6622.26</c:v>
                </c:pt>
                <c:pt idx="2">
                  <c:v>327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96</c:v>
                </c:pt>
                <c:pt idx="1">
                  <c:v/>
                </c:pt>
                <c:pt idx="2">
                  <c:v/>
                </c:pt>
              </c:strCache>
            </c:strRef>
          </c:cat>
          <c:val>
            <c:numRef>
              <c:f>Sheet1!$F$2:$F$4</c:f>
              <c:numCache>
                <c:formatCode>General</c:formatCode>
                <c:ptCount val="3"/>
                <c:pt idx="2">
                  <c:v>6498.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743.7"/>
          <c:min val="1065.8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B$2:$B$4</c:f>
              <c:numCache>
                <c:formatCode>General</c:formatCode>
                <c:ptCount val="3"/>
                <c:pt idx="0">
                  <c:v>1650.27</c:v>
                </c:pt>
                <c:pt idx="1">
                  <c:v>1119.7</c:v>
                </c:pt>
                <c:pt idx="2">
                  <c:v>2325.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01.84</a:t>
                    </a:r>
                  </a:p>
                </c:rich>
              </c:tx>
              <c:dLblPos val="l"/>
              <c:showLegendKey val="0"/>
              <c:showVal val="1"/>
              <c:showCatName val="0"/>
              <c:showSerName val="0"/>
              <c:showPercent val="0"/>
              <c:showBubbleSize val="0"/>
            </c:dLbl>
            <c:dLbl>
              <c:idx val="1"/>
              <c:tx>
                <c:rich>
                  <a:bodyPr/>
                  <a:lstStyle/>
                  <a:p>
                    <a:r>
                      <a:t>IX 41</a:t>
                    </a:r>
                  </a:p>
                  <a:p>
                    <a:r>
                      <a:t>594.51</a:t>
                    </a:r>
                  </a:p>
                </c:rich>
              </c:tx>
              <c:dLblPos val="l"/>
              <c:showLegendKey val="0"/>
              <c:showVal val="1"/>
              <c:showCatName val="0"/>
              <c:showSerName val="0"/>
              <c:showPercent val="0"/>
              <c:showBubbleSize val="0"/>
            </c:dLbl>
            <c:dLbl>
              <c:idx val="2"/>
              <c:tx>
                <c:rich>
                  <a:bodyPr/>
                  <a:lstStyle/>
                  <a:p>
                    <a:r>
                      <a:t>IX 8</a:t>
                    </a:r>
                  </a:p>
                  <a:p>
                    <a:r>
                      <a:t>727.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C$2:$C$4</c:f>
              <c:numCache>
                <c:formatCode>General</c:formatCode>
                <c:ptCount val="3"/>
                <c:pt idx="0">
                  <c:v>1201.84</c:v>
                </c:pt>
                <c:pt idx="1">
                  <c:v>594.51</c:v>
                </c:pt>
                <c:pt idx="2">
                  <c:v>727.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D$2:$D$4</c:f>
              <c:numCache>
                <c:formatCode>General</c:formatCode>
                <c:ptCount val="3"/>
                <c:pt idx="0">
                  <c:v>1681.59</c:v>
                </c:pt>
                <c:pt idx="1">
                  <c:v>1442.7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E$2:$E$4</c:f>
              <c:numCache>
                <c:formatCode>General</c:formatCode>
                <c:ptCount val="3"/>
                <c:pt idx="0">
                  <c:v>6210.08</c:v>
                </c:pt>
                <c:pt idx="2">
                  <c:v>910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41</c:v>
                </c:pt>
                <c:pt idx="2">
                  <c:v>IX 8</c:v>
                </c:pt>
              </c:strCache>
            </c:strRef>
          </c:cat>
          <c:val>
            <c:numRef>
              <c:f>Sheet1!$F$2:$F$4</c:f>
              <c:numCache>
                <c:formatCode>General</c:formatCode>
                <c:ptCount val="3"/>
                <c:pt idx="0">
                  <c:v>11532.43</c:v>
                </c:pt>
                <c:pt idx="1">
                  <c:v>4539.57</c:v>
                </c:pt>
                <c:pt idx="2">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594.01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4</c:v>
                </c:pt>
                <c:pt idx="2">
                  <c:v>IX 18</c:v>
                </c:pt>
              </c:strCache>
            </c:strRef>
          </c:cat>
          <c:val>
            <c:numRef>
              <c:f>Sheet1!$B$2:$B$4</c:f>
              <c:numCache>
                <c:formatCode>General</c:formatCode>
                <c:ptCount val="3"/>
                <c:pt idx="0">
                  <c:v>1650.27</c:v>
                </c:pt>
                <c:pt idx="1">
                  <c:v>1119.7</c:v>
                </c:pt>
                <c:pt idx="2">
                  <c:v>2325.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0</a:t>
                    </a:r>
                  </a:p>
                  <a:p>
                    <a:r>
                      <a:t>1171.87</a:t>
                    </a:r>
                  </a:p>
                </c:rich>
              </c:tx>
              <c:dLblPos val="l"/>
              <c:showLegendKey val="0"/>
              <c:showVal val="1"/>
              <c:showCatName val="0"/>
              <c:showSerName val="0"/>
              <c:showPercent val="0"/>
              <c:showBubbleSize val="0"/>
            </c:dLbl>
            <c:dLbl>
              <c:idx val="1"/>
              <c:tx>
                <c:rich>
                  <a:bodyPr/>
                  <a:lstStyle/>
                  <a:p>
                    <a:r>
                      <a:t>IX 84</a:t>
                    </a:r>
                  </a:p>
                  <a:p>
                    <a:r>
                      <a:t>1207.69</a:t>
                    </a:r>
                  </a:p>
                </c:rich>
              </c:tx>
              <c:dLblPos val="l"/>
              <c:showLegendKey val="0"/>
              <c:showVal val="1"/>
              <c:showCatName val="0"/>
              <c:showSerName val="0"/>
              <c:showPercent val="0"/>
              <c:showBubbleSize val="0"/>
            </c:dLbl>
            <c:dLbl>
              <c:idx val="2"/>
              <c:tx>
                <c:rich>
                  <a:bodyPr/>
                  <a:lstStyle/>
                  <a:p>
                    <a:r>
                      <a:t>IX 18</a:t>
                    </a:r>
                  </a:p>
                  <a:p>
                    <a:r>
                      <a:t>1609.7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4</c:v>
                </c:pt>
                <c:pt idx="2">
                  <c:v>IX 18</c:v>
                </c:pt>
              </c:strCache>
            </c:strRef>
          </c:cat>
          <c:val>
            <c:numRef>
              <c:f>Sheet1!$C$2:$C$4</c:f>
              <c:numCache>
                <c:formatCode>General</c:formatCode>
                <c:ptCount val="3"/>
                <c:pt idx="0">
                  <c:v>1171.87</c:v>
                </c:pt>
                <c:pt idx="1">
                  <c:v>1207.69</c:v>
                </c:pt>
                <c:pt idx="2">
                  <c:v>1609.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4</c:v>
                </c:pt>
                <c:pt idx="2">
                  <c:v>IX 18</c:v>
                </c:pt>
              </c:strCache>
            </c:strRef>
          </c:cat>
          <c:val>
            <c:numRef>
              <c:f>Sheet1!$D$2:$D$4</c:f>
              <c:numCache>
                <c:formatCode>General</c:formatCode>
                <c:ptCount val="3"/>
                <c:pt idx="0">
                  <c:v>1681.59</c:v>
                </c:pt>
                <c:pt idx="1">
                  <c:v>1442.7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4</c:v>
                </c:pt>
                <c:pt idx="2">
                  <c:v>IX 18</c:v>
                </c:pt>
              </c:strCache>
            </c:strRef>
          </c:cat>
          <c:val>
            <c:numRef>
              <c:f>Sheet1!$E$2:$E$4</c:f>
              <c:numCache>
                <c:formatCode>General</c:formatCode>
                <c:ptCount val="3"/>
                <c:pt idx="0">
                  <c:v>6210.08</c:v>
                </c:pt>
                <c:pt idx="2">
                  <c:v>910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4</c:v>
                </c:pt>
                <c:pt idx="2">
                  <c:v>IX 18</c:v>
                </c:pt>
              </c:strCache>
            </c:strRef>
          </c:cat>
          <c:val>
            <c:numRef>
              <c:f>Sheet1!$F$2:$F$4</c:f>
              <c:numCache>
                <c:formatCode>General</c:formatCode>
                <c:ptCount val="3"/>
                <c:pt idx="0">
                  <c:v>11532.43</c:v>
                </c:pt>
                <c:pt idx="1">
                  <c:v>4539.57</c:v>
                </c:pt>
                <c:pt idx="2">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1119.20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650.27</c:v>
                </c:pt>
                <c:pt idx="1">
                  <c:v>1119.7</c:v>
                </c:pt>
                <c:pt idx="2">
                  <c:v>2325.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2</a:t>
                    </a:r>
                  </a:p>
                  <a:p>
                    <a:r>
                      <a:t>4233.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233.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681.59</c:v>
                </c:pt>
                <c:pt idx="1">
                  <c:v>1442.7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6210.08</c:v>
                </c:pt>
                <c:pt idx="2">
                  <c:v>9102.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0">
                  <c:v>11532.43</c:v>
                </c:pt>
                <c:pt idx="1">
                  <c:v>4539.57</c:v>
                </c:pt>
                <c:pt idx="2">
                  <c:v>20706.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6.7857"/>
          <c:min val="1119.20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3</c:v>
                </c:pt>
                <c:pt idx="2">
                  <c:v>IX 9</c:v>
                </c:pt>
              </c:strCache>
            </c:strRef>
          </c:cat>
          <c:val>
            <c:numRef>
              <c:f>Sheet1!$B$2:$B$4</c:f>
              <c:numCache>
                <c:formatCode>General</c:formatCode>
                <c:ptCount val="3"/>
                <c:pt idx="0">
                  <c:v>1665.94</c:v>
                </c:pt>
                <c:pt idx="1">
                  <c:v>1145.37</c:v>
                </c:pt>
                <c:pt idx="2">
                  <c:v>2278.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50.12</a:t>
                    </a:r>
                  </a:p>
                </c:rich>
              </c:tx>
              <c:dLblPos val="l"/>
              <c:showLegendKey val="0"/>
              <c:showVal val="1"/>
              <c:showCatName val="0"/>
              <c:showSerName val="0"/>
              <c:showPercent val="0"/>
              <c:showBubbleSize val="0"/>
            </c:dLbl>
            <c:dLbl>
              <c:idx val="1"/>
              <c:tx>
                <c:rich>
                  <a:bodyPr/>
                  <a:lstStyle/>
                  <a:p>
                    <a:r>
                      <a:t>IX 43</a:t>
                    </a:r>
                  </a:p>
                  <a:p>
                    <a:r>
                      <a:t>645.62</a:t>
                    </a:r>
                  </a:p>
                </c:rich>
              </c:tx>
              <c:dLblPos val="l"/>
              <c:showLegendKey val="0"/>
              <c:showVal val="1"/>
              <c:showCatName val="0"/>
              <c:showSerName val="0"/>
              <c:showPercent val="0"/>
              <c:showBubbleSize val="0"/>
            </c:dLbl>
            <c:dLbl>
              <c:idx val="2"/>
              <c:tx>
                <c:rich>
                  <a:bodyPr/>
                  <a:lstStyle/>
                  <a:p>
                    <a:r>
                      <a:t>IX 9</a:t>
                    </a:r>
                  </a:p>
                  <a:p>
                    <a:r>
                      <a:t>827.0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3</c:v>
                </c:pt>
                <c:pt idx="2">
                  <c:v>IX 9</c:v>
                </c:pt>
              </c:strCache>
            </c:strRef>
          </c:cat>
          <c:val>
            <c:numRef>
              <c:f>Sheet1!$C$2:$C$4</c:f>
              <c:numCache>
                <c:formatCode>General</c:formatCode>
                <c:ptCount val="3"/>
                <c:pt idx="0">
                  <c:v>1250.12</c:v>
                </c:pt>
                <c:pt idx="1">
                  <c:v>645.62</c:v>
                </c:pt>
                <c:pt idx="2">
                  <c:v>827.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3</c:v>
                </c:pt>
                <c:pt idx="2">
                  <c:v>IX 9</c:v>
                </c:pt>
              </c:strCache>
            </c:strRef>
          </c:cat>
          <c:val>
            <c:numRef>
              <c:f>Sheet1!$D$2:$D$4</c:f>
              <c:numCache>
                <c:formatCode>General</c:formatCode>
                <c:ptCount val="3"/>
                <c:pt idx="0">
                  <c:v>1727.49</c:v>
                </c:pt>
                <c:pt idx="1">
                  <c:v>149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3</c:v>
                </c:pt>
                <c:pt idx="2">
                  <c:v>IX 9</c:v>
                </c:pt>
              </c:strCache>
            </c:strRef>
          </c:cat>
          <c:val>
            <c:numRef>
              <c:f>Sheet1!$E$2:$E$4</c:f>
              <c:numCache>
                <c:formatCode>General</c:formatCode>
                <c:ptCount val="3"/>
                <c:pt idx="0">
                  <c:v>6176.77</c:v>
                </c:pt>
                <c:pt idx="2">
                  <c:v>9039.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43</c:v>
                </c:pt>
                <c:pt idx="2">
                  <c:v>IX 9</c:v>
                </c:pt>
              </c:strCache>
            </c:strRef>
          </c:cat>
          <c:val>
            <c:numRef>
              <c:f>Sheet1!$F$2:$F$4</c:f>
              <c:numCache>
                <c:formatCode>General</c:formatCode>
                <c:ptCount val="3"/>
                <c:pt idx="0">
                  <c:v>677.28</c:v>
                </c:pt>
                <c:pt idx="1">
                  <c:v>60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39.8261"/>
          <c:min val="599.58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B$2:$B$5</c:f>
              <c:numCache>
                <c:formatCode>General</c:formatCode>
                <c:ptCount val="4"/>
                <c:pt idx="0">
                  <c:v>1619.42</c:v>
                </c:pt>
                <c:pt idx="1">
                  <c:v>1116.29</c:v>
                </c:pt>
                <c:pt idx="2">
                  <c:v>577.77</c:v>
                </c:pt>
                <c:pt idx="3">
                  <c:v>496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10.83</a:t>
                    </a:r>
                  </a:p>
                </c:rich>
              </c:tx>
              <c:dLblPos val="l"/>
              <c:showLegendKey val="0"/>
              <c:showVal val="1"/>
              <c:showCatName val="0"/>
              <c:showSerName val="0"/>
              <c:showPercent val="0"/>
              <c:showBubbleSize val="0"/>
            </c:dLbl>
            <c:dLbl>
              <c:idx val="1"/>
              <c:tx>
                <c:rich>
                  <a:bodyPr/>
                  <a:lstStyle/>
                  <a:p>
                    <a:r>
                      <a:t>IX 100</a:t>
                    </a:r>
                  </a:p>
                  <a:p>
                    <a:r>
                      <a:t>1122.92</a:t>
                    </a:r>
                  </a:p>
                </c:rich>
              </c:tx>
              <c:dLblPos val="l"/>
              <c:showLegendKey val="0"/>
              <c:showVal val="1"/>
              <c:showCatName val="0"/>
              <c:showSerName val="0"/>
              <c:showPercent val="0"/>
              <c:showBubbleSize val="0"/>
            </c:dLbl>
            <c:dLbl>
              <c:idx val="2"/>
              <c:tx>
                <c:rich>
                  <a:bodyPr/>
                  <a:lstStyle/>
                  <a:p>
                    <a:r>
                      <a:t>IX 100</a:t>
                    </a:r>
                  </a:p>
                  <a:p>
                    <a:r>
                      <a:t>675.8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C$2:$C$5</c:f>
              <c:numCache>
                <c:formatCode>General</c:formatCode>
                <c:ptCount val="4"/>
                <c:pt idx="0">
                  <c:v>1210.83</c:v>
                </c:pt>
                <c:pt idx="1">
                  <c:v>1122.92</c:v>
                </c:pt>
                <c:pt idx="2">
                  <c:v>675.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D$2:$D$5</c:f>
              <c:numCache>
                <c:formatCode>General</c:formatCode>
                <c:ptCount val="4"/>
                <c:pt idx="0">
                  <c:v>1668.14</c:v>
                </c:pt>
                <c:pt idx="1">
                  <c:v>1234.88</c:v>
                </c:pt>
                <c:pt idx="2">
                  <c:v>576.11</c:v>
                </c:pt>
                <c:pt idx="3">
                  <c:v>108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E$2:$E$5</c:f>
              <c:numCache>
                <c:formatCode>General</c:formatCode>
                <c:ptCount val="4"/>
                <c:pt idx="0">
                  <c:v>9899.08</c:v>
                </c:pt>
                <c:pt idx="2">
                  <c:v>4410.1</c:v>
                </c:pt>
                <c:pt idx="3">
                  <c:v>11019.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100</c:v>
                </c:pt>
                <c:pt idx="2">
                  <c:v>IX 100</c:v>
                </c:pt>
                <c:pt idx="3">
                  <c:v/>
                </c:pt>
              </c:strCache>
            </c:strRef>
          </c:cat>
          <c:val>
            <c:numRef>
              <c:f>Sheet1!$F$2:$F$5</c:f>
              <c:numCache>
                <c:formatCode>General</c:formatCode>
                <c:ptCount val="4"/>
                <c:pt idx="0">
                  <c:v>6699.24</c:v>
                </c:pt>
                <c:pt idx="3">
                  <c:v>8939.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020.20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87</c:v>
                </c:pt>
                <c:pt idx="2">
                  <c:v>IX 17</c:v>
                </c:pt>
              </c:strCache>
            </c:strRef>
          </c:cat>
          <c:val>
            <c:numRef>
              <c:f>Sheet1!$B$2:$B$4</c:f>
              <c:numCache>
                <c:formatCode>General</c:formatCode>
                <c:ptCount val="3"/>
                <c:pt idx="0">
                  <c:v>1665.94</c:v>
                </c:pt>
                <c:pt idx="1">
                  <c:v>1145.37</c:v>
                </c:pt>
                <c:pt idx="2">
                  <c:v>2278.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55.51</a:t>
                    </a:r>
                  </a:p>
                </c:rich>
              </c:tx>
              <c:dLblPos val="l"/>
              <c:showLegendKey val="0"/>
              <c:showVal val="1"/>
              <c:showCatName val="0"/>
              <c:showSerName val="0"/>
              <c:showPercent val="0"/>
              <c:showBubbleSize val="0"/>
            </c:dLbl>
            <c:dLbl>
              <c:idx val="1"/>
              <c:tx>
                <c:rich>
                  <a:bodyPr/>
                  <a:lstStyle/>
                  <a:p>
                    <a:r>
                      <a:t>IX 87</a:t>
                    </a:r>
                  </a:p>
                  <a:p>
                    <a:r>
                      <a:t>1293.88</a:t>
                    </a:r>
                  </a:p>
                </c:rich>
              </c:tx>
              <c:dLblPos val="l"/>
              <c:showLegendKey val="0"/>
              <c:showVal val="1"/>
              <c:showCatName val="0"/>
              <c:showSerName val="0"/>
              <c:showPercent val="0"/>
              <c:showBubbleSize val="0"/>
            </c:dLbl>
            <c:dLbl>
              <c:idx val="2"/>
              <c:tx>
                <c:rich>
                  <a:bodyPr/>
                  <a:lstStyle/>
                  <a:p>
                    <a:r>
                      <a:t>IX 17</a:t>
                    </a:r>
                  </a:p>
                  <a:p>
                    <a:r>
                      <a:t>1571.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87</c:v>
                </c:pt>
                <c:pt idx="2">
                  <c:v>IX 17</c:v>
                </c:pt>
              </c:strCache>
            </c:strRef>
          </c:cat>
          <c:val>
            <c:numRef>
              <c:f>Sheet1!$C$2:$C$4</c:f>
              <c:numCache>
                <c:formatCode>General</c:formatCode>
                <c:ptCount val="3"/>
                <c:pt idx="0">
                  <c:v>1255.51</c:v>
                </c:pt>
                <c:pt idx="1">
                  <c:v>1293.88</c:v>
                </c:pt>
                <c:pt idx="2">
                  <c:v>1571.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87</c:v>
                </c:pt>
                <c:pt idx="2">
                  <c:v>IX 17</c:v>
                </c:pt>
              </c:strCache>
            </c:strRef>
          </c:cat>
          <c:val>
            <c:numRef>
              <c:f>Sheet1!$D$2:$D$4</c:f>
              <c:numCache>
                <c:formatCode>General</c:formatCode>
                <c:ptCount val="3"/>
                <c:pt idx="0">
                  <c:v>1727.49</c:v>
                </c:pt>
                <c:pt idx="1">
                  <c:v>149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87</c:v>
                </c:pt>
                <c:pt idx="2">
                  <c:v>IX 17</c:v>
                </c:pt>
              </c:strCache>
            </c:strRef>
          </c:cat>
          <c:val>
            <c:numRef>
              <c:f>Sheet1!$E$2:$E$4</c:f>
              <c:numCache>
                <c:formatCode>General</c:formatCode>
                <c:ptCount val="3"/>
                <c:pt idx="0">
                  <c:v>6176.77</c:v>
                </c:pt>
                <c:pt idx="2">
                  <c:v>9039.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3</c:v>
                </c:pt>
                <c:pt idx="1">
                  <c:v>IX 87</c:v>
                </c:pt>
                <c:pt idx="2">
                  <c:v>IX 17</c:v>
                </c:pt>
              </c:strCache>
            </c:strRef>
          </c:cat>
          <c:val>
            <c:numRef>
              <c:f>Sheet1!$F$2:$F$4</c:f>
              <c:numCache>
                <c:formatCode>General</c:formatCode>
                <c:ptCount val="3"/>
                <c:pt idx="0">
                  <c:v>677.28</c:v>
                </c:pt>
                <c:pt idx="1">
                  <c:v>60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39.8261"/>
          <c:min val="599.58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B$2:$B$4</c:f>
              <c:numCache>
                <c:formatCode>General</c:formatCode>
                <c:ptCount val="3"/>
                <c:pt idx="0">
                  <c:v>1665.94</c:v>
                </c:pt>
                <c:pt idx="1">
                  <c:v>1145.37</c:v>
                </c:pt>
                <c:pt idx="2">
                  <c:v>2278.8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0</a:t>
                    </a:r>
                  </a:p>
                  <a:p>
                    <a:r>
                      <a:t>4326.9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C$2:$C$4</c:f>
              <c:numCache>
                <c:formatCode>General</c:formatCode>
                <c:ptCount val="3"/>
                <c:pt idx="0">
                  <c:v>4326.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D$2:$D$4</c:f>
              <c:numCache>
                <c:formatCode>General</c:formatCode>
                <c:ptCount val="3"/>
                <c:pt idx="0">
                  <c:v>1727.49</c:v>
                </c:pt>
                <c:pt idx="1">
                  <c:v>1492.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E$2:$E$4</c:f>
              <c:numCache>
                <c:formatCode>General</c:formatCode>
                <c:ptCount val="3"/>
                <c:pt idx="0">
                  <c:v>6176.77</c:v>
                </c:pt>
                <c:pt idx="2">
                  <c:v>9039.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0</c:v>
                </c:pt>
                <c:pt idx="1">
                  <c:v/>
                </c:pt>
                <c:pt idx="2">
                  <c:v/>
                </c:pt>
              </c:strCache>
            </c:strRef>
          </c:cat>
          <c:val>
            <c:numRef>
              <c:f>Sheet1!$F$2:$F$4</c:f>
              <c:numCache>
                <c:formatCode>General</c:formatCode>
                <c:ptCount val="3"/>
                <c:pt idx="0">
                  <c:v>677.28</c:v>
                </c:pt>
                <c:pt idx="1">
                  <c:v>600.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39.8261"/>
          <c:min val="599.58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36</c:v>
                </c:pt>
                <c:pt idx="2">
                  <c:v>IX 1</c:v>
                </c:pt>
              </c:strCache>
            </c:strRef>
          </c:cat>
          <c:val>
            <c:numRef>
              <c:f>Sheet1!$B$2:$B$4</c:f>
              <c:numCache>
                <c:formatCode>General</c:formatCode>
                <c:ptCount val="3"/>
                <c:pt idx="0">
                  <c:v>1620.38</c:v>
                </c:pt>
                <c:pt idx="1">
                  <c:v>1211.63</c:v>
                </c:pt>
                <c:pt idx="2">
                  <c:v>21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59.53</a:t>
                    </a:r>
                  </a:p>
                </c:rich>
              </c:tx>
              <c:dLblPos val="l"/>
              <c:showLegendKey val="0"/>
              <c:showVal val="1"/>
              <c:showCatName val="0"/>
              <c:showSerName val="0"/>
              <c:showPercent val="0"/>
              <c:showBubbleSize val="0"/>
            </c:dLbl>
            <c:dLbl>
              <c:idx val="1"/>
              <c:tx>
                <c:rich>
                  <a:bodyPr/>
                  <a:lstStyle/>
                  <a:p>
                    <a:r>
                      <a:t>IX 36</a:t>
                    </a:r>
                  </a:p>
                  <a:p>
                    <a:r>
                      <a:t>533.25</a:t>
                    </a:r>
                  </a:p>
                </c:rich>
              </c:tx>
              <c:dLblPos val="l"/>
              <c:showLegendKey val="0"/>
              <c:showVal val="1"/>
              <c:showCatName val="0"/>
              <c:showSerName val="0"/>
              <c:showPercent val="0"/>
              <c:showBubbleSize val="0"/>
            </c:dLbl>
            <c:dLbl>
              <c:idx val="2"/>
              <c:tx>
                <c:rich>
                  <a:bodyPr/>
                  <a:lstStyle/>
                  <a:p>
                    <a:r>
                      <a:t>IX 1</a:t>
                    </a:r>
                  </a:p>
                  <a:p>
                    <a:r>
                      <a:t>1184.7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36</c:v>
                </c:pt>
                <c:pt idx="2">
                  <c:v>IX 1</c:v>
                </c:pt>
              </c:strCache>
            </c:strRef>
          </c:cat>
          <c:val>
            <c:numRef>
              <c:f>Sheet1!$C$2:$C$4</c:f>
              <c:numCache>
                <c:formatCode>General</c:formatCode>
                <c:ptCount val="3"/>
                <c:pt idx="0">
                  <c:v>1259.53</c:v>
                </c:pt>
                <c:pt idx="1">
                  <c:v>533.25</c:v>
                </c:pt>
                <c:pt idx="2">
                  <c:v>1184.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36</c:v>
                </c:pt>
                <c:pt idx="2">
                  <c:v>IX 1</c:v>
                </c:pt>
              </c:strCache>
            </c:strRef>
          </c:cat>
          <c:val>
            <c:numRef>
              <c:f>Sheet1!$D$2:$D$4</c:f>
              <c:numCache>
                <c:formatCode>General</c:formatCode>
                <c:ptCount val="3"/>
                <c:pt idx="0">
                  <c:v>1745.93</c:v>
                </c:pt>
                <c:pt idx="1">
                  <c:v>1489.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36</c:v>
                </c:pt>
                <c:pt idx="2">
                  <c:v>IX 1</c:v>
                </c:pt>
              </c:strCache>
            </c:strRef>
          </c:cat>
          <c:val>
            <c:numRef>
              <c:f>Sheet1!$E$2:$E$4</c:f>
              <c:numCache>
                <c:formatCode>General</c:formatCode>
                <c:ptCount val="3"/>
                <c:pt idx="0">
                  <c:v>6749.32</c:v>
                </c:pt>
                <c:pt idx="2">
                  <c:v>8410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2</c:v>
                </c:pt>
                <c:pt idx="1">
                  <c:v>IX 36</c:v>
                </c:pt>
                <c:pt idx="2">
                  <c:v>IX 1</c:v>
                </c:pt>
              </c:strCache>
            </c:strRef>
          </c:cat>
          <c:val>
            <c:numRef>
              <c:f>Sheet1!$F$2:$F$4</c:f>
              <c:numCache>
                <c:formatCode>General</c:formatCode>
                <c:ptCount val="3"/>
                <c:pt idx="2">
                  <c:v>12740.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10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8</c:v>
                </c:pt>
                <c:pt idx="2">
                  <c:v>IX 100</c:v>
                </c:pt>
              </c:strCache>
            </c:strRef>
          </c:cat>
          <c:val>
            <c:numRef>
              <c:f>Sheet1!$B$2:$B$4</c:f>
              <c:numCache>
                <c:formatCode>General</c:formatCode>
                <c:ptCount val="3"/>
                <c:pt idx="0">
                  <c:v>1620.38</c:v>
                </c:pt>
                <c:pt idx="1">
                  <c:v>1211.63</c:v>
                </c:pt>
                <c:pt idx="2">
                  <c:v>21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300.56</a:t>
                    </a:r>
                  </a:p>
                </c:rich>
              </c:tx>
              <c:dLblPos val="l"/>
              <c:showLegendKey val="0"/>
              <c:showVal val="1"/>
              <c:showCatName val="0"/>
              <c:showSerName val="0"/>
              <c:showPercent val="0"/>
              <c:showBubbleSize val="0"/>
            </c:dLbl>
            <c:dLbl>
              <c:idx val="1"/>
              <c:tx>
                <c:rich>
                  <a:bodyPr/>
                  <a:lstStyle/>
                  <a:p>
                    <a:r>
                      <a:t>IX 88</a:t>
                    </a:r>
                  </a:p>
                  <a:p>
                    <a:r>
                      <a:t>1311.64</a:t>
                    </a:r>
                  </a:p>
                </c:rich>
              </c:tx>
              <c:dLblPos val="l"/>
              <c:showLegendKey val="0"/>
              <c:showVal val="1"/>
              <c:showCatName val="0"/>
              <c:showSerName val="0"/>
              <c:showPercent val="0"/>
              <c:showBubbleSize val="0"/>
            </c:dLbl>
            <c:dLbl>
              <c:idx val="2"/>
              <c:tx>
                <c:rich>
                  <a:bodyPr/>
                  <a:lstStyle/>
                  <a:p>
                    <a:r>
                      <a:t>IX 100</a:t>
                    </a:r>
                  </a:p>
                  <a:p>
                    <a:r>
                      <a:t>1590.9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8</c:v>
                </c:pt>
                <c:pt idx="2">
                  <c:v>IX 100</c:v>
                </c:pt>
              </c:strCache>
            </c:strRef>
          </c:cat>
          <c:val>
            <c:numRef>
              <c:f>Sheet1!$C$2:$C$4</c:f>
              <c:numCache>
                <c:formatCode>General</c:formatCode>
                <c:ptCount val="3"/>
                <c:pt idx="0">
                  <c:v>1300.56</c:v>
                </c:pt>
                <c:pt idx="1">
                  <c:v>1311.64</c:v>
                </c:pt>
                <c:pt idx="2">
                  <c:v>1590.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8</c:v>
                </c:pt>
                <c:pt idx="2">
                  <c:v>IX 100</c:v>
                </c:pt>
              </c:strCache>
            </c:strRef>
          </c:cat>
          <c:val>
            <c:numRef>
              <c:f>Sheet1!$D$2:$D$4</c:f>
              <c:numCache>
                <c:formatCode>General</c:formatCode>
                <c:ptCount val="3"/>
                <c:pt idx="0">
                  <c:v>1745.93</c:v>
                </c:pt>
                <c:pt idx="1">
                  <c:v>1489.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8</c:v>
                </c:pt>
                <c:pt idx="2">
                  <c:v>IX 100</c:v>
                </c:pt>
              </c:strCache>
            </c:strRef>
          </c:cat>
          <c:val>
            <c:numRef>
              <c:f>Sheet1!$E$2:$E$4</c:f>
              <c:numCache>
                <c:formatCode>General</c:formatCode>
                <c:ptCount val="3"/>
                <c:pt idx="0">
                  <c:v>6749.32</c:v>
                </c:pt>
                <c:pt idx="2">
                  <c:v>8410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4</c:v>
                </c:pt>
                <c:pt idx="1">
                  <c:v>IX 88</c:v>
                </c:pt>
                <c:pt idx="2">
                  <c:v>IX 100</c:v>
                </c:pt>
              </c:strCache>
            </c:strRef>
          </c:cat>
          <c:val>
            <c:numRef>
              <c:f>Sheet1!$F$2:$F$4</c:f>
              <c:numCache>
                <c:formatCode>General</c:formatCode>
                <c:ptCount val="3"/>
                <c:pt idx="2">
                  <c:v>12740.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10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B$2:$B$4</c:f>
              <c:numCache>
                <c:formatCode>General</c:formatCode>
                <c:ptCount val="3"/>
                <c:pt idx="0">
                  <c:v>1620.38</c:v>
                </c:pt>
                <c:pt idx="1">
                  <c:v>1211.63</c:v>
                </c:pt>
                <c:pt idx="2">
                  <c:v>2110.1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8</a:t>
                    </a:r>
                  </a:p>
                  <a:p>
                    <a:r>
                      <a:t>4326.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C$2:$C$4</c:f>
              <c:numCache>
                <c:formatCode>General</c:formatCode>
                <c:ptCount val="3"/>
                <c:pt idx="0">
                  <c:v>4326.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D$2:$D$4</c:f>
              <c:numCache>
                <c:formatCode>General</c:formatCode>
                <c:ptCount val="3"/>
                <c:pt idx="0">
                  <c:v>1745.93</c:v>
                </c:pt>
                <c:pt idx="1">
                  <c:v>1489.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E$2:$E$4</c:f>
              <c:numCache>
                <c:formatCode>General</c:formatCode>
                <c:ptCount val="3"/>
                <c:pt idx="0">
                  <c:v>6749.32</c:v>
                </c:pt>
                <c:pt idx="2">
                  <c:v>8410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F$2:$F$4</c:f>
              <c:numCache>
                <c:formatCode>General</c:formatCode>
                <c:ptCount val="3"/>
                <c:pt idx="2">
                  <c:v>12740.3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102.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3</c:v>
                </c:pt>
                <c:pt idx="2">
                  <c:v>IX 20</c:v>
                </c:pt>
              </c:strCache>
            </c:strRef>
          </c:cat>
          <c:val>
            <c:numRef>
              <c:f>Sheet1!$B$2:$B$4</c:f>
              <c:numCache>
                <c:formatCode>General</c:formatCode>
                <c:ptCount val="3"/>
                <c:pt idx="0">
                  <c:v>1907.74</c:v>
                </c:pt>
                <c:pt idx="1">
                  <c:v>1263.24</c:v>
                </c:pt>
                <c:pt idx="2">
                  <c:v>2898.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1389.93</a:t>
                    </a:r>
                  </a:p>
                </c:rich>
              </c:tx>
              <c:dLblPos val="l"/>
              <c:showLegendKey val="0"/>
              <c:showVal val="1"/>
              <c:showCatName val="0"/>
              <c:showSerName val="0"/>
              <c:showPercent val="0"/>
              <c:showBubbleSize val="0"/>
            </c:dLbl>
            <c:dLbl>
              <c:idx val="1"/>
              <c:tx>
                <c:rich>
                  <a:bodyPr/>
                  <a:lstStyle/>
                  <a:p>
                    <a:r>
                      <a:t>IX 83</a:t>
                    </a:r>
                  </a:p>
                  <a:p>
                    <a:r>
                      <a:t>1376.92</a:t>
                    </a:r>
                  </a:p>
                </c:rich>
              </c:tx>
              <c:dLblPos val="l"/>
              <c:showLegendKey val="0"/>
              <c:showVal val="1"/>
              <c:showCatName val="0"/>
              <c:showSerName val="0"/>
              <c:showPercent val="0"/>
              <c:showBubbleSize val="0"/>
            </c:dLbl>
            <c:dLbl>
              <c:idx val="2"/>
              <c:tx>
                <c:rich>
                  <a:bodyPr/>
                  <a:lstStyle/>
                  <a:p>
                    <a:r>
                      <a:t>IX 20</a:t>
                    </a:r>
                  </a:p>
                  <a:p>
                    <a:r>
                      <a:t>1574.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3</c:v>
                </c:pt>
                <c:pt idx="2">
                  <c:v>IX 20</c:v>
                </c:pt>
              </c:strCache>
            </c:strRef>
          </c:cat>
          <c:val>
            <c:numRef>
              <c:f>Sheet1!$C$2:$C$4</c:f>
              <c:numCache>
                <c:formatCode>General</c:formatCode>
                <c:ptCount val="3"/>
                <c:pt idx="0">
                  <c:v>1389.93</c:v>
                </c:pt>
                <c:pt idx="1">
                  <c:v>1376.92</c:v>
                </c:pt>
                <c:pt idx="2">
                  <c:v>157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3</c:v>
                </c:pt>
                <c:pt idx="2">
                  <c:v>IX 20</c:v>
                </c:pt>
              </c:strCache>
            </c:strRef>
          </c:cat>
          <c:val>
            <c:numRef>
              <c:f>Sheet1!$D$2:$D$4</c:f>
              <c:numCache>
                <c:formatCode>General</c:formatCode>
                <c:ptCount val="3"/>
                <c:pt idx="0">
                  <c:v>2071.53</c:v>
                </c:pt>
                <c:pt idx="1">
                  <c:v>1650.4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3</c:v>
                </c:pt>
                <c:pt idx="2">
                  <c:v>IX 20</c:v>
                </c:pt>
              </c:strCache>
            </c:strRef>
          </c:cat>
          <c:val>
            <c:numRef>
              <c:f>Sheet1!$E$2:$E$4</c:f>
              <c:numCache>
                <c:formatCode>General</c:formatCode>
                <c:ptCount val="3"/>
                <c:pt idx="0">
                  <c:v>6979.35</c:v>
                </c:pt>
                <c:pt idx="2">
                  <c:v>7963.0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3</c:v>
                </c:pt>
                <c:pt idx="2">
                  <c:v>IX 20</c:v>
                </c:pt>
              </c:strCache>
            </c:strRef>
          </c:cat>
          <c:val>
            <c:numRef>
              <c:f>Sheet1!$F$2:$F$4</c:f>
              <c:numCache>
                <c:formatCode>General</c:formatCode>
                <c:ptCount val="3"/>
                <c:pt idx="0">
                  <c:v>7777.26</c:v>
                </c:pt>
                <c:pt idx="1">
                  <c:v>3980.99</c:v>
                </c:pt>
                <c:pt idx="2">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2</c:v>
                </c:pt>
                <c:pt idx="2">
                  <c:v>IX 16</c:v>
                </c:pt>
              </c:strCache>
            </c:strRef>
          </c:cat>
          <c:val>
            <c:numRef>
              <c:f>Sheet1!$B$2:$B$4</c:f>
              <c:numCache>
                <c:formatCode>General</c:formatCode>
                <c:ptCount val="3"/>
                <c:pt idx="0">
                  <c:v>1978.44</c:v>
                </c:pt>
                <c:pt idx="1">
                  <c:v>1247.84</c:v>
                </c:pt>
                <c:pt idx="2">
                  <c:v>285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1404.65</a:t>
                    </a:r>
                  </a:p>
                </c:rich>
              </c:tx>
              <c:dLblPos val="l"/>
              <c:showLegendKey val="0"/>
              <c:showVal val="1"/>
              <c:showCatName val="0"/>
              <c:showSerName val="0"/>
              <c:showPercent val="0"/>
              <c:showBubbleSize val="0"/>
            </c:dLbl>
            <c:dLbl>
              <c:idx val="1"/>
              <c:tx>
                <c:rich>
                  <a:bodyPr/>
                  <a:lstStyle/>
                  <a:p>
                    <a:r>
                      <a:t>IX 82</a:t>
                    </a:r>
                  </a:p>
                  <a:p>
                    <a:r>
                      <a:t>1371.84</a:t>
                    </a:r>
                  </a:p>
                </c:rich>
              </c:tx>
              <c:dLblPos val="l"/>
              <c:showLegendKey val="0"/>
              <c:showVal val="1"/>
              <c:showCatName val="0"/>
              <c:showSerName val="0"/>
              <c:showPercent val="0"/>
              <c:showBubbleSize val="0"/>
            </c:dLbl>
            <c:dLbl>
              <c:idx val="2"/>
              <c:tx>
                <c:rich>
                  <a:bodyPr/>
                  <a:lstStyle/>
                  <a:p>
                    <a:r>
                      <a:t>IX 16</a:t>
                    </a:r>
                  </a:p>
                  <a:p>
                    <a:r>
                      <a:t>1615.0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2</c:v>
                </c:pt>
                <c:pt idx="2">
                  <c:v>IX 16</c:v>
                </c:pt>
              </c:strCache>
            </c:strRef>
          </c:cat>
          <c:val>
            <c:numRef>
              <c:f>Sheet1!$C$2:$C$4</c:f>
              <c:numCache>
                <c:formatCode>General</c:formatCode>
                <c:ptCount val="3"/>
                <c:pt idx="0">
                  <c:v>1404.65</c:v>
                </c:pt>
                <c:pt idx="1">
                  <c:v>1371.84</c:v>
                </c:pt>
                <c:pt idx="2">
                  <c:v>1615.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2</c:v>
                </c:pt>
                <c:pt idx="2">
                  <c:v>IX 16</c:v>
                </c:pt>
              </c:strCache>
            </c:strRef>
          </c:cat>
          <c:val>
            <c:numRef>
              <c:f>Sheet1!$D$2:$D$4</c:f>
              <c:numCache>
                <c:formatCode>General</c:formatCode>
                <c:ptCount val="3"/>
                <c:pt idx="0">
                  <c:v>2168.77</c:v>
                </c:pt>
                <c:pt idx="1">
                  <c:v>1677.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2</c:v>
                </c:pt>
                <c:pt idx="2">
                  <c:v>IX 16</c:v>
                </c:pt>
              </c:strCache>
            </c:strRef>
          </c:cat>
          <c:val>
            <c:numRef>
              <c:f>Sheet1!$E$2:$E$4</c:f>
              <c:numCache>
                <c:formatCode>General</c:formatCode>
                <c:ptCount val="3"/>
                <c:pt idx="0">
                  <c:v>7018.37</c:v>
                </c:pt>
                <c:pt idx="2">
                  <c:v>10250.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2</c:v>
                </c:pt>
                <c:pt idx="2">
                  <c:v>IX 16</c:v>
                </c:pt>
              </c:strCache>
            </c:strRef>
          </c:cat>
          <c:val>
            <c:numRef>
              <c:f>Sheet1!$F$2:$F$4</c:f>
              <c:numCache>
                <c:formatCode>General</c:formatCode>
                <c:ptCount val="3"/>
                <c:pt idx="0">
                  <c:v>7472.02</c:v>
                </c:pt>
                <c:pt idx="1">
                  <c:v>5448.68</c:v>
                </c:pt>
                <c:pt idx="2">
                  <c:v>18163.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63.875"/>
          <c:min val="1247.34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1</c:v>
                </c:pt>
                <c:pt idx="2">
                  <c:v>IX 29</c:v>
                </c:pt>
              </c:strCache>
            </c:strRef>
          </c:cat>
          <c:val>
            <c:numRef>
              <c:f>Sheet1!$B$2:$B$4</c:f>
              <c:numCache>
                <c:formatCode>General</c:formatCode>
                <c:ptCount val="3"/>
                <c:pt idx="0">
                  <c:v>2358.94</c:v>
                </c:pt>
                <c:pt idx="1">
                  <c:v>1297.26</c:v>
                </c:pt>
                <c:pt idx="2">
                  <c:v>3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8</a:t>
                    </a:r>
                  </a:p>
                  <a:p>
                    <a:r>
                      <a:t>1340.71</a:t>
                    </a:r>
                  </a:p>
                </c:rich>
              </c:tx>
              <c:dLblPos val="l"/>
              <c:showLegendKey val="0"/>
              <c:showVal val="1"/>
              <c:showCatName val="0"/>
              <c:showSerName val="0"/>
              <c:showPercent val="0"/>
              <c:showBubbleSize val="0"/>
            </c:dLbl>
            <c:dLbl>
              <c:idx val="1"/>
              <c:tx>
                <c:rich>
                  <a:bodyPr/>
                  <a:lstStyle/>
                  <a:p>
                    <a:r>
                      <a:t>IX 81</a:t>
                    </a:r>
                  </a:p>
                  <a:p>
                    <a:r>
                      <a:t>1341.84</a:t>
                    </a:r>
                  </a:p>
                </c:rich>
              </c:tx>
              <c:dLblPos val="l"/>
              <c:showLegendKey val="0"/>
              <c:showVal val="1"/>
              <c:showCatName val="0"/>
              <c:showSerName val="0"/>
              <c:showPercent val="0"/>
              <c:showBubbleSize val="0"/>
            </c:dLbl>
            <c:dLbl>
              <c:idx val="2"/>
              <c:tx>
                <c:rich>
                  <a:bodyPr/>
                  <a:lstStyle/>
                  <a:p>
                    <a:r>
                      <a:t>IX 29</a:t>
                    </a:r>
                  </a:p>
                  <a:p>
                    <a:r>
                      <a:t>1564.9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1</c:v>
                </c:pt>
                <c:pt idx="2">
                  <c:v>IX 29</c:v>
                </c:pt>
              </c:strCache>
            </c:strRef>
          </c:cat>
          <c:val>
            <c:numRef>
              <c:f>Sheet1!$C$2:$C$4</c:f>
              <c:numCache>
                <c:formatCode>General</c:formatCode>
                <c:ptCount val="3"/>
                <c:pt idx="0">
                  <c:v>1340.71</c:v>
                </c:pt>
                <c:pt idx="1">
                  <c:v>1341.84</c:v>
                </c:pt>
                <c:pt idx="2">
                  <c:v>1564.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1</c:v>
                </c:pt>
                <c:pt idx="2">
                  <c:v>IX 29</c:v>
                </c:pt>
              </c:strCache>
            </c:strRef>
          </c:cat>
          <c:val>
            <c:numRef>
              <c:f>Sheet1!$D$2:$D$4</c:f>
              <c:numCache>
                <c:formatCode>General</c:formatCode>
                <c:ptCount val="3"/>
                <c:pt idx="0">
                  <c:v>2319.91</c:v>
                </c:pt>
                <c:pt idx="1">
                  <c:v>1655.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1</c:v>
                </c:pt>
                <c:pt idx="2">
                  <c:v>IX 29</c:v>
                </c:pt>
              </c:strCache>
            </c:strRef>
          </c:cat>
          <c:val>
            <c:numRef>
              <c:f>Sheet1!$E$2:$E$4</c:f>
              <c:numCache>
                <c:formatCode>General</c:formatCode>
                <c:ptCount val="3"/>
                <c:pt idx="0">
                  <c:v>7520.08</c:v>
                </c:pt>
                <c:pt idx="2">
                  <c:v>5465.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8</c:v>
                </c:pt>
                <c:pt idx="1">
                  <c:v>IX 81</c:v>
                </c:pt>
                <c:pt idx="2">
                  <c:v>IX 29</c:v>
                </c:pt>
              </c:strCache>
            </c:strRef>
          </c:cat>
          <c:val>
            <c:numRef>
              <c:f>Sheet1!$F$2:$F$4</c:f>
              <c:numCache>
                <c:formatCode>General</c:formatCode>
                <c:ptCount val="3"/>
                <c:pt idx="0">
                  <c:v>8197.5</c:v>
                </c:pt>
                <c:pt idx="1">
                  <c:v>3346.48</c:v>
                </c:pt>
                <c:pt idx="2">
                  <c:v>12659.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296.75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85</c:v>
                </c:pt>
                <c:pt idx="2">
                  <c:v>IX 4</c:v>
                </c:pt>
              </c:strCache>
            </c:strRef>
          </c:cat>
          <c:val>
            <c:numRef>
              <c:f>Sheet1!$B$2:$B$4</c:f>
              <c:numCache>
                <c:formatCode>General</c:formatCode>
                <c:ptCount val="3"/>
                <c:pt idx="0">
                  <c:v>1609.05</c:v>
                </c:pt>
                <c:pt idx="1">
                  <c:v>1203.72</c:v>
                </c:pt>
                <c:pt idx="2">
                  <c:v>2417.6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6</a:t>
                    </a:r>
                  </a:p>
                  <a:p>
                    <a:r>
                      <a:t>1381.85</a:t>
                    </a:r>
                  </a:p>
                </c:rich>
              </c:tx>
              <c:dLblPos val="l"/>
              <c:showLegendKey val="0"/>
              <c:showVal val="1"/>
              <c:showCatName val="0"/>
              <c:showSerName val="0"/>
              <c:showPercent val="0"/>
              <c:showBubbleSize val="0"/>
            </c:dLbl>
            <c:dLbl>
              <c:idx val="1"/>
              <c:tx>
                <c:rich>
                  <a:bodyPr/>
                  <a:lstStyle/>
                  <a:p>
                    <a:r>
                      <a:t>IX 85</a:t>
                    </a:r>
                  </a:p>
                  <a:p>
                    <a:r>
                      <a:t>1324.09</a:t>
                    </a:r>
                  </a:p>
                </c:rich>
              </c:tx>
              <c:dLblPos val="l"/>
              <c:showLegendKey val="0"/>
              <c:showVal val="1"/>
              <c:showCatName val="0"/>
              <c:showSerName val="0"/>
              <c:showPercent val="0"/>
              <c:showBubbleSize val="0"/>
            </c:dLbl>
            <c:dLbl>
              <c:idx val="2"/>
              <c:tx>
                <c:rich>
                  <a:bodyPr/>
                  <a:lstStyle/>
                  <a:p>
                    <a:r>
                      <a:t>IX 4</a:t>
                    </a:r>
                  </a:p>
                  <a:p>
                    <a:r>
                      <a:t>1758.5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85</c:v>
                </c:pt>
                <c:pt idx="2">
                  <c:v>IX 4</c:v>
                </c:pt>
              </c:strCache>
            </c:strRef>
          </c:cat>
          <c:val>
            <c:numRef>
              <c:f>Sheet1!$C$2:$C$4</c:f>
              <c:numCache>
                <c:formatCode>General</c:formatCode>
                <c:ptCount val="3"/>
                <c:pt idx="0">
                  <c:v>1381.85</c:v>
                </c:pt>
                <c:pt idx="1">
                  <c:v>1324.09</c:v>
                </c:pt>
                <c:pt idx="2">
                  <c:v>1758.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85</c:v>
                </c:pt>
                <c:pt idx="2">
                  <c:v>IX 4</c:v>
                </c:pt>
              </c:strCache>
            </c:strRef>
          </c:cat>
          <c:val>
            <c:numRef>
              <c:f>Sheet1!$D$2:$D$4</c:f>
              <c:numCache>
                <c:formatCode>General</c:formatCode>
                <c:ptCount val="3"/>
                <c:pt idx="0">
                  <c:v>1825.67</c:v>
                </c:pt>
                <c:pt idx="1">
                  <c:v>1551.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85</c:v>
                </c:pt>
                <c:pt idx="2">
                  <c:v>IX 4</c:v>
                </c:pt>
              </c:strCache>
            </c:strRef>
          </c:cat>
          <c:val>
            <c:numRef>
              <c:f>Sheet1!$E$2:$E$4</c:f>
              <c:numCache>
                <c:formatCode>General</c:formatCode>
                <c:ptCount val="3"/>
                <c:pt idx="0">
                  <c:v>7149.1</c:v>
                </c:pt>
                <c:pt idx="2">
                  <c:v>42838.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6</c:v>
                </c:pt>
                <c:pt idx="1">
                  <c:v>IX 85</c:v>
                </c:pt>
                <c:pt idx="2">
                  <c:v>IX 4</c:v>
                </c:pt>
              </c:strCache>
            </c:strRef>
          </c:cat>
          <c:val>
            <c:numRef>
              <c:f>Sheet1!$F$2:$F$4</c:f>
              <c:numCache>
                <c:formatCode>General</c:formatCode>
                <c:ptCount val="3"/>
                <c:pt idx="2">
                  <c:v>694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838.5"/>
          <c:min val="1203.21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1</c:v>
                </c:pt>
                <c:pt idx="2">
                  <c:v>IX 15</c:v>
                </c:pt>
              </c:strCache>
            </c:strRef>
          </c:cat>
          <c:val>
            <c:numRef>
              <c:f>Sheet1!$B$2:$B$4</c:f>
              <c:numCache>
                <c:formatCode>General</c:formatCode>
                <c:ptCount val="3"/>
                <c:pt idx="0">
                  <c:v>1864.61</c:v>
                </c:pt>
                <c:pt idx="1">
                  <c:v>1262.55</c:v>
                </c:pt>
                <c:pt idx="2">
                  <c:v>3017.8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6</a:t>
                    </a:r>
                  </a:p>
                  <a:p>
                    <a:r>
                      <a:t>1367.11</a:t>
                    </a:r>
                  </a:p>
                </c:rich>
              </c:tx>
              <c:dLblPos val="l"/>
              <c:showLegendKey val="0"/>
              <c:showVal val="1"/>
              <c:showCatName val="0"/>
              <c:showSerName val="0"/>
              <c:showPercent val="0"/>
              <c:showBubbleSize val="0"/>
            </c:dLbl>
            <c:dLbl>
              <c:idx val="1"/>
              <c:tx>
                <c:rich>
                  <a:bodyPr/>
                  <a:lstStyle/>
                  <a:p>
                    <a:r>
                      <a:t>IX 81</a:t>
                    </a:r>
                  </a:p>
                  <a:p>
                    <a:r>
                      <a:t>1361.89</a:t>
                    </a:r>
                  </a:p>
                </c:rich>
              </c:tx>
              <c:dLblPos val="l"/>
              <c:showLegendKey val="0"/>
              <c:showVal val="1"/>
              <c:showCatName val="0"/>
              <c:showSerName val="0"/>
              <c:showPercent val="0"/>
              <c:showBubbleSize val="0"/>
            </c:dLbl>
            <c:dLbl>
              <c:idx val="2"/>
              <c:tx>
                <c:rich>
                  <a:bodyPr/>
                  <a:lstStyle/>
                  <a:p>
                    <a:r>
                      <a:t>IX 15</a:t>
                    </a:r>
                  </a:p>
                  <a:p>
                    <a:r>
                      <a:t>1456.4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1</c:v>
                </c:pt>
                <c:pt idx="2">
                  <c:v>IX 15</c:v>
                </c:pt>
              </c:strCache>
            </c:strRef>
          </c:cat>
          <c:val>
            <c:numRef>
              <c:f>Sheet1!$C$2:$C$4</c:f>
              <c:numCache>
                <c:formatCode>General</c:formatCode>
                <c:ptCount val="3"/>
                <c:pt idx="0">
                  <c:v>1367.11</c:v>
                </c:pt>
                <c:pt idx="1">
                  <c:v>1361.89</c:v>
                </c:pt>
                <c:pt idx="2">
                  <c:v>1456.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1</c:v>
                </c:pt>
                <c:pt idx="2">
                  <c:v>IX 15</c:v>
                </c:pt>
              </c:strCache>
            </c:strRef>
          </c:cat>
          <c:val>
            <c:numRef>
              <c:f>Sheet1!$D$2:$D$4</c:f>
              <c:numCache>
                <c:formatCode>General</c:formatCode>
                <c:ptCount val="3"/>
                <c:pt idx="0">
                  <c:v>2062.0</c:v>
                </c:pt>
                <c:pt idx="1">
                  <c:v>1671.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1</c:v>
                </c:pt>
                <c:pt idx="2">
                  <c:v>IX 15</c:v>
                </c:pt>
              </c:strCache>
            </c:strRef>
          </c:cat>
          <c:val>
            <c:numRef>
              <c:f>Sheet1!$E$2:$E$4</c:f>
              <c:numCache>
                <c:formatCode>General</c:formatCode>
                <c:ptCount val="3"/>
                <c:pt idx="0">
                  <c:v>6422.78</c:v>
                </c:pt>
                <c:pt idx="2">
                  <c:v>9603.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1</c:v>
                </c:pt>
                <c:pt idx="2">
                  <c:v>IX 15</c:v>
                </c:pt>
              </c:strCache>
            </c:strRef>
          </c:cat>
          <c:val>
            <c:numRef>
              <c:f>Sheet1!$F$2:$F$4</c:f>
              <c:numCache>
                <c:formatCode>General</c:formatCode>
                <c:ptCount val="3"/>
                <c:pt idx="0">
                  <c:v>7868.86</c:v>
                </c:pt>
                <c:pt idx="1">
                  <c:v>4280.21</c:v>
                </c:pt>
                <c:pt idx="2">
                  <c:v>2699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996.0"/>
          <c:min val="1262.05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7</c:v>
                </c:pt>
              </c:strCache>
            </c:strRef>
          </c:cat>
          <c:val>
            <c:numRef>
              <c:f>Sheet1!$B$2:$B$5</c:f>
              <c:numCache>
                <c:formatCode>General</c:formatCode>
                <c:ptCount val="4"/>
                <c:pt idx="0">
                  <c:v>1619.42</c:v>
                </c:pt>
                <c:pt idx="1">
                  <c:v>1116.29</c:v>
                </c:pt>
                <c:pt idx="2">
                  <c:v>577.77</c:v>
                </c:pt>
                <c:pt idx="3">
                  <c:v>4966.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16.76</a:t>
                    </a:r>
                  </a:p>
                </c:rich>
              </c:tx>
              <c:dLblPos val="l"/>
              <c:showLegendKey val="0"/>
              <c:showVal val="1"/>
              <c:showCatName val="0"/>
              <c:showSerName val="0"/>
              <c:showPercent val="0"/>
              <c:showBubbleSize val="0"/>
            </c:dLbl>
            <c:dLbl>
              <c:idx val="1"/>
              <c:tx>
                <c:rich>
                  <a:bodyPr/>
                  <a:lstStyle/>
                  <a:p>
                    <a:r>
                      <a:t>IX 75</a:t>
                    </a:r>
                  </a:p>
                  <a:p>
                    <a:r>
                      <a:t>932.19</a:t>
                    </a:r>
                  </a:p>
                </c:rich>
              </c:tx>
              <c:dLblPos val="l"/>
              <c:showLegendKey val="0"/>
              <c:showVal val="1"/>
              <c:showCatName val="0"/>
              <c:showSerName val="0"/>
              <c:showPercent val="0"/>
              <c:showBubbleSize val="0"/>
            </c:dLbl>
            <c:dLbl>
              <c:idx val="2"/>
              <c:tx>
                <c:rich>
                  <a:bodyPr/>
                  <a:lstStyle/>
                  <a:p>
                    <a:r>
                      <a:t>IX 100</a:t>
                    </a:r>
                  </a:p>
                  <a:p>
                    <a:r>
                      <a:t>439.69</a:t>
                    </a:r>
                  </a:p>
                </c:rich>
              </c:tx>
              <c:dLblPos val="l"/>
              <c:showLegendKey val="0"/>
              <c:showVal val="1"/>
              <c:showCatName val="0"/>
              <c:showSerName val="0"/>
              <c:showPercent val="0"/>
              <c:showBubbleSize val="0"/>
            </c:dLbl>
            <c:dLbl>
              <c:idx val="3"/>
              <c:tx>
                <c:rich>
                  <a:bodyPr/>
                  <a:lstStyle/>
                  <a:p>
                    <a:r>
                      <a:t>IX 7</a:t>
                    </a:r>
                  </a:p>
                  <a:p>
                    <a:r>
                      <a:t>818.4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7</c:v>
                </c:pt>
              </c:strCache>
            </c:strRef>
          </c:cat>
          <c:val>
            <c:numRef>
              <c:f>Sheet1!$C$2:$C$5</c:f>
              <c:numCache>
                <c:formatCode>General</c:formatCode>
                <c:ptCount val="4"/>
                <c:pt idx="0">
                  <c:v>1216.76</c:v>
                </c:pt>
                <c:pt idx="1">
                  <c:v>932.19</c:v>
                </c:pt>
                <c:pt idx="2">
                  <c:v>439.69</c:v>
                </c:pt>
                <c:pt idx="3">
                  <c:v>818.4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7</c:v>
                </c:pt>
              </c:strCache>
            </c:strRef>
          </c:cat>
          <c:val>
            <c:numRef>
              <c:f>Sheet1!$D$2:$D$5</c:f>
              <c:numCache>
                <c:formatCode>General</c:formatCode>
                <c:ptCount val="4"/>
                <c:pt idx="0">
                  <c:v>1668.14</c:v>
                </c:pt>
                <c:pt idx="1">
                  <c:v>1234.88</c:v>
                </c:pt>
                <c:pt idx="2">
                  <c:v>576.11</c:v>
                </c:pt>
                <c:pt idx="3">
                  <c:v>1089.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7</c:v>
                </c:pt>
              </c:strCache>
            </c:strRef>
          </c:cat>
          <c:val>
            <c:numRef>
              <c:f>Sheet1!$E$2:$E$5</c:f>
              <c:numCache>
                <c:formatCode>General</c:formatCode>
                <c:ptCount val="4"/>
                <c:pt idx="0">
                  <c:v>9899.08</c:v>
                </c:pt>
                <c:pt idx="2">
                  <c:v>4410.1</c:v>
                </c:pt>
                <c:pt idx="3">
                  <c:v>11019.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73</c:v>
                </c:pt>
                <c:pt idx="1">
                  <c:v>IX 75</c:v>
                </c:pt>
                <c:pt idx="2">
                  <c:v>IX 100</c:v>
                </c:pt>
                <c:pt idx="3">
                  <c:v>IX 7</c:v>
                </c:pt>
              </c:strCache>
            </c:strRef>
          </c:cat>
          <c:val>
            <c:numRef>
              <c:f>Sheet1!$F$2:$F$5</c:f>
              <c:numCache>
                <c:formatCode>General</c:formatCode>
                <c:ptCount val="4"/>
                <c:pt idx="0">
                  <c:v>6699.24</c:v>
                </c:pt>
                <c:pt idx="3">
                  <c:v>8939.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020.20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4</c:v>
                </c:pt>
                <c:pt idx="2">
                  <c:v>IX 14</c:v>
                </c:pt>
              </c:strCache>
            </c:strRef>
          </c:cat>
          <c:val>
            <c:numRef>
              <c:f>Sheet1!$B$2:$B$4</c:f>
              <c:numCache>
                <c:formatCode>General</c:formatCode>
                <c:ptCount val="3"/>
                <c:pt idx="0">
                  <c:v>1861.63</c:v>
                </c:pt>
                <c:pt idx="1">
                  <c:v>1263.15</c:v>
                </c:pt>
                <c:pt idx="2">
                  <c:v>2939.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06.67</a:t>
                    </a:r>
                  </a:p>
                </c:rich>
              </c:tx>
              <c:dLblPos val="l"/>
              <c:showLegendKey val="0"/>
              <c:showVal val="1"/>
              <c:showCatName val="0"/>
              <c:showSerName val="0"/>
              <c:showPercent val="0"/>
              <c:showBubbleSize val="0"/>
            </c:dLbl>
            <c:dLbl>
              <c:idx val="1"/>
              <c:tx>
                <c:rich>
                  <a:bodyPr/>
                  <a:lstStyle/>
                  <a:p>
                    <a:r>
                      <a:t>IX 84</a:t>
                    </a:r>
                  </a:p>
                  <a:p>
                    <a:r>
                      <a:t>1424.48</a:t>
                    </a:r>
                  </a:p>
                </c:rich>
              </c:tx>
              <c:dLblPos val="l"/>
              <c:showLegendKey val="0"/>
              <c:showVal val="1"/>
              <c:showCatName val="0"/>
              <c:showSerName val="0"/>
              <c:showPercent val="0"/>
              <c:showBubbleSize val="0"/>
            </c:dLbl>
            <c:dLbl>
              <c:idx val="2"/>
              <c:tx>
                <c:rich>
                  <a:bodyPr/>
                  <a:lstStyle/>
                  <a:p>
                    <a:r>
                      <a:t>IX 14</a:t>
                    </a:r>
                  </a:p>
                  <a:p>
                    <a:r>
                      <a:t>1493.1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4</c:v>
                </c:pt>
                <c:pt idx="2">
                  <c:v>IX 14</c:v>
                </c:pt>
              </c:strCache>
            </c:strRef>
          </c:cat>
          <c:val>
            <c:numRef>
              <c:f>Sheet1!$C$2:$C$4</c:f>
              <c:numCache>
                <c:formatCode>General</c:formatCode>
                <c:ptCount val="3"/>
                <c:pt idx="0">
                  <c:v>1406.67</c:v>
                </c:pt>
                <c:pt idx="1">
                  <c:v>1424.48</c:v>
                </c:pt>
                <c:pt idx="2">
                  <c:v>1493.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4</c:v>
                </c:pt>
                <c:pt idx="2">
                  <c:v>IX 14</c:v>
                </c:pt>
              </c:strCache>
            </c:strRef>
          </c:cat>
          <c:val>
            <c:numRef>
              <c:f>Sheet1!$D$2:$D$4</c:f>
              <c:numCache>
                <c:formatCode>General</c:formatCode>
                <c:ptCount val="3"/>
                <c:pt idx="0">
                  <c:v>2093.87</c:v>
                </c:pt>
                <c:pt idx="1">
                  <c:v>1695.7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4</c:v>
                </c:pt>
                <c:pt idx="2">
                  <c:v>IX 14</c:v>
                </c:pt>
              </c:strCache>
            </c:strRef>
          </c:cat>
          <c:val>
            <c:numRef>
              <c:f>Sheet1!$E$2:$E$4</c:f>
              <c:numCache>
                <c:formatCode>General</c:formatCode>
                <c:ptCount val="3"/>
                <c:pt idx="0">
                  <c:v>6432.5</c:v>
                </c:pt>
                <c:pt idx="2">
                  <c:v>10325.3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IX 84</c:v>
                </c:pt>
                <c:pt idx="2">
                  <c:v>IX 14</c:v>
                </c:pt>
              </c:strCache>
            </c:strRef>
          </c:cat>
          <c:val>
            <c:numRef>
              <c:f>Sheet1!$F$2:$F$4</c:f>
              <c:numCache>
                <c:formatCode>General</c:formatCode>
                <c:ptCount val="3"/>
                <c:pt idx="0">
                  <c:v>7911.03</c:v>
                </c:pt>
                <c:pt idx="1">
                  <c:v>4107.99</c:v>
                </c:pt>
                <c:pt idx="2">
                  <c:v>23583.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83.8333"/>
          <c:min val="1262.6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6</c:v>
                </c:pt>
                <c:pt idx="2">
                  <c:v>IX 100</c:v>
                </c:pt>
              </c:strCache>
            </c:strRef>
          </c:cat>
          <c:val>
            <c:numRef>
              <c:f>Sheet1!$B$2:$B$4</c:f>
              <c:numCache>
                <c:formatCode>General</c:formatCode>
                <c:ptCount val="3"/>
                <c:pt idx="0">
                  <c:v>1812.45</c:v>
                </c:pt>
                <c:pt idx="1">
                  <c:v>1353.73</c:v>
                </c:pt>
                <c:pt idx="2">
                  <c:v>2563.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437.41</a:t>
                    </a:r>
                  </a:p>
                </c:rich>
              </c:tx>
              <c:dLblPos val="l"/>
              <c:showLegendKey val="0"/>
              <c:showVal val="1"/>
              <c:showCatName val="0"/>
              <c:showSerName val="0"/>
              <c:showPercent val="0"/>
              <c:showBubbleSize val="0"/>
            </c:dLbl>
            <c:dLbl>
              <c:idx val="1"/>
              <c:tx>
                <c:rich>
                  <a:bodyPr/>
                  <a:lstStyle/>
                  <a:p>
                    <a:r>
                      <a:t>IX 86</a:t>
                    </a:r>
                  </a:p>
                  <a:p>
                    <a:r>
                      <a:t>1453.02</a:t>
                    </a:r>
                  </a:p>
                </c:rich>
              </c:tx>
              <c:dLblPos val="l"/>
              <c:showLegendKey val="0"/>
              <c:showVal val="1"/>
              <c:showCatName val="0"/>
              <c:showSerName val="0"/>
              <c:showPercent val="0"/>
              <c:showBubbleSize val="0"/>
            </c:dLbl>
            <c:dLbl>
              <c:idx val="2"/>
              <c:tx>
                <c:rich>
                  <a:bodyPr/>
                  <a:lstStyle/>
                  <a:p>
                    <a:r>
                      <a:t>IX 100</a:t>
                    </a:r>
                  </a:p>
                  <a:p>
                    <a:r>
                      <a:t>1746.7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6</c:v>
                </c:pt>
                <c:pt idx="2">
                  <c:v>IX 100</c:v>
                </c:pt>
              </c:strCache>
            </c:strRef>
          </c:cat>
          <c:val>
            <c:numRef>
              <c:f>Sheet1!$C$2:$C$4</c:f>
              <c:numCache>
                <c:formatCode>General</c:formatCode>
                <c:ptCount val="3"/>
                <c:pt idx="0">
                  <c:v>1437.41</c:v>
                </c:pt>
                <c:pt idx="1">
                  <c:v>1453.02</c:v>
                </c:pt>
                <c:pt idx="2">
                  <c:v>1746.7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6</c:v>
                </c:pt>
                <c:pt idx="2">
                  <c:v>IX 100</c:v>
                </c:pt>
              </c:strCache>
            </c:strRef>
          </c:cat>
          <c:val>
            <c:numRef>
              <c:f>Sheet1!$D$2:$D$4</c:f>
              <c:numCache>
                <c:formatCode>General</c:formatCode>
                <c:ptCount val="3"/>
                <c:pt idx="0">
                  <c:v>2052.59</c:v>
                </c:pt>
                <c:pt idx="1">
                  <c:v>1686.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6</c:v>
                </c:pt>
                <c:pt idx="2">
                  <c:v>IX 100</c:v>
                </c:pt>
              </c:strCache>
            </c:strRef>
          </c:cat>
          <c:val>
            <c:numRef>
              <c:f>Sheet1!$E$2:$E$4</c:f>
              <c:numCache>
                <c:formatCode>General</c:formatCode>
                <c:ptCount val="3"/>
                <c:pt idx="0">
                  <c:v>6790.79</c:v>
                </c:pt>
                <c:pt idx="2">
                  <c:v>9077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bs. Expanscienc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0</c:v>
                </c:pt>
                <c:pt idx="1">
                  <c:v>IX 86</c:v>
                </c:pt>
                <c:pt idx="2">
                  <c:v>IX 100</c:v>
                </c:pt>
              </c:strCache>
            </c:strRef>
          </c:cat>
          <c:val>
            <c:numRef>
              <c:f>Sheet1!$F$2:$F$4</c:f>
              <c:numCache>
                <c:formatCode>General</c:formatCode>
                <c:ptCount val="3"/>
                <c:pt idx="2">
                  <c:v>19846.7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772.0"/>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5</c:v>
                </c:pt>
              </c:strCache>
            </c:strRef>
          </c:cat>
          <c:val>
            <c:numRef>
              <c:f>Sheet1!$B$2:$B$4</c:f>
              <c:numCache>
                <c:formatCode>General</c:formatCode>
                <c:ptCount val="3"/>
                <c:pt idx="0">
                  <c:v>1907.74</c:v>
                </c:pt>
                <c:pt idx="1">
                  <c:v>1263.24</c:v>
                </c:pt>
                <c:pt idx="2">
                  <c:v>2898.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43.03</a:t>
                    </a:r>
                  </a:p>
                </c:rich>
              </c:tx>
              <c:dLblPos val="l"/>
              <c:showLegendKey val="0"/>
              <c:showVal val="1"/>
              <c:showCatName val="0"/>
              <c:showSerName val="0"/>
              <c:showPercent val="0"/>
              <c:showBubbleSize val="0"/>
            </c:dLbl>
            <c:dLbl>
              <c:idx val="1"/>
              <c:tx>
                <c:rich>
                  <a:bodyPr/>
                  <a:lstStyle/>
                  <a:p>
                    <a:r>
                      <a:t>IX 50</a:t>
                    </a:r>
                  </a:p>
                  <a:p>
                    <a:r>
                      <a:t>813.6</a:t>
                    </a:r>
                  </a:p>
                </c:rich>
              </c:tx>
              <c:dLblPos val="l"/>
              <c:showLegendKey val="0"/>
              <c:showVal val="1"/>
              <c:showCatName val="0"/>
              <c:showSerName val="0"/>
              <c:showPercent val="0"/>
              <c:showBubbleSize val="0"/>
            </c:dLbl>
            <c:dLbl>
              <c:idx val="2"/>
              <c:tx>
                <c:rich>
                  <a:bodyPr/>
                  <a:lstStyle/>
                  <a:p>
                    <a:r>
                      <a:t>IX 15</a:t>
                    </a:r>
                  </a:p>
                  <a:p>
                    <a:r>
                      <a:t>1182.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5</c:v>
                </c:pt>
              </c:strCache>
            </c:strRef>
          </c:cat>
          <c:val>
            <c:numRef>
              <c:f>Sheet1!$C$2:$C$4</c:f>
              <c:numCache>
                <c:formatCode>General</c:formatCode>
                <c:ptCount val="3"/>
                <c:pt idx="0">
                  <c:v>1343.03</c:v>
                </c:pt>
                <c:pt idx="1">
                  <c:v>813.6</c:v>
                </c:pt>
                <c:pt idx="2">
                  <c:v>118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5</c:v>
                </c:pt>
              </c:strCache>
            </c:strRef>
          </c:cat>
          <c:val>
            <c:numRef>
              <c:f>Sheet1!$D$2:$D$4</c:f>
              <c:numCache>
                <c:formatCode>General</c:formatCode>
                <c:ptCount val="3"/>
                <c:pt idx="0">
                  <c:v>1947.62</c:v>
                </c:pt>
                <c:pt idx="1">
                  <c:v>1634.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5</c:v>
                </c:pt>
              </c:strCache>
            </c:strRef>
          </c:cat>
          <c:val>
            <c:numRef>
              <c:f>Sheet1!$E$2:$E$4</c:f>
              <c:numCache>
                <c:formatCode>General</c:formatCode>
                <c:ptCount val="3"/>
                <c:pt idx="0">
                  <c:v>6979.35</c:v>
                </c:pt>
                <c:pt idx="2">
                  <c:v>7963.0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9</c:v>
                </c:pt>
                <c:pt idx="1">
                  <c:v>IX 50</c:v>
                </c:pt>
                <c:pt idx="2">
                  <c:v>IX 15</c:v>
                </c:pt>
              </c:strCache>
            </c:strRef>
          </c:cat>
          <c:val>
            <c:numRef>
              <c:f>Sheet1!$F$2:$F$4</c:f>
              <c:numCache>
                <c:formatCode>General</c:formatCode>
                <c:ptCount val="3"/>
                <c:pt idx="0">
                  <c:v>11219.25</c:v>
                </c:pt>
                <c:pt idx="1">
                  <c:v>5154.47</c:v>
                </c:pt>
                <c:pt idx="2">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22</c:v>
                </c:pt>
              </c:strCache>
            </c:strRef>
          </c:cat>
          <c:val>
            <c:numRef>
              <c:f>Sheet1!$B$2:$B$4</c:f>
              <c:numCache>
                <c:formatCode>General</c:formatCode>
                <c:ptCount val="3"/>
                <c:pt idx="0">
                  <c:v>1907.74</c:v>
                </c:pt>
                <c:pt idx="1">
                  <c:v>1263.24</c:v>
                </c:pt>
                <c:pt idx="2">
                  <c:v>2898.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374.27</a:t>
                    </a:r>
                  </a:p>
                </c:rich>
              </c:tx>
              <c:dLblPos val="l"/>
              <c:showLegendKey val="0"/>
              <c:showVal val="1"/>
              <c:showCatName val="0"/>
              <c:showSerName val="0"/>
              <c:showPercent val="0"/>
              <c:showBubbleSize val="0"/>
            </c:dLbl>
            <c:dLbl>
              <c:idx val="1"/>
              <c:tx>
                <c:rich>
                  <a:bodyPr/>
                  <a:lstStyle/>
                  <a:p>
                    <a:r>
                      <a:t>IX 85</a:t>
                    </a:r>
                  </a:p>
                  <a:p>
                    <a:r>
                      <a:t>1391.2</a:t>
                    </a:r>
                  </a:p>
                </c:rich>
              </c:tx>
              <c:dLblPos val="l"/>
              <c:showLegendKey val="0"/>
              <c:showVal val="1"/>
              <c:showCatName val="0"/>
              <c:showSerName val="0"/>
              <c:showPercent val="0"/>
              <c:showBubbleSize val="0"/>
            </c:dLbl>
            <c:dLbl>
              <c:idx val="2"/>
              <c:tx>
                <c:rich>
                  <a:bodyPr/>
                  <a:lstStyle/>
                  <a:p>
                    <a:r>
                      <a:t>IX 22</a:t>
                    </a:r>
                  </a:p>
                  <a:p>
                    <a:r>
                      <a:t>1723.6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22</c:v>
                </c:pt>
              </c:strCache>
            </c:strRef>
          </c:cat>
          <c:val>
            <c:numRef>
              <c:f>Sheet1!$C$2:$C$4</c:f>
              <c:numCache>
                <c:formatCode>General</c:formatCode>
                <c:ptCount val="3"/>
                <c:pt idx="0">
                  <c:v>1374.27</c:v>
                </c:pt>
                <c:pt idx="1">
                  <c:v>1391.2</c:v>
                </c:pt>
                <c:pt idx="2">
                  <c:v>1723.6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22</c:v>
                </c:pt>
              </c:strCache>
            </c:strRef>
          </c:cat>
          <c:val>
            <c:numRef>
              <c:f>Sheet1!$D$2:$D$4</c:f>
              <c:numCache>
                <c:formatCode>General</c:formatCode>
                <c:ptCount val="3"/>
                <c:pt idx="0">
                  <c:v>1947.62</c:v>
                </c:pt>
                <c:pt idx="1">
                  <c:v>1634.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22</c:v>
                </c:pt>
              </c:strCache>
            </c:strRef>
          </c:cat>
          <c:val>
            <c:numRef>
              <c:f>Sheet1!$E$2:$E$4</c:f>
              <c:numCache>
                <c:formatCode>General</c:formatCode>
                <c:ptCount val="3"/>
                <c:pt idx="0">
                  <c:v>6979.35</c:v>
                </c:pt>
                <c:pt idx="2">
                  <c:v>7963.0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71</c:v>
                </c:pt>
                <c:pt idx="1">
                  <c:v>IX 85</c:v>
                </c:pt>
                <c:pt idx="2">
                  <c:v>IX 22</c:v>
                </c:pt>
              </c:strCache>
            </c:strRef>
          </c:cat>
          <c:val>
            <c:numRef>
              <c:f>Sheet1!$F$2:$F$4</c:f>
              <c:numCache>
                <c:formatCode>General</c:formatCode>
                <c:ptCount val="3"/>
                <c:pt idx="0">
                  <c:v>11219.25</c:v>
                </c:pt>
                <c:pt idx="1">
                  <c:v>5154.47</c:v>
                </c:pt>
                <c:pt idx="2">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B$2:$B$4</c:f>
              <c:numCache>
                <c:formatCode>General</c:formatCode>
                <c:ptCount val="3"/>
                <c:pt idx="0">
                  <c:v>1907.74</c:v>
                </c:pt>
                <c:pt idx="1">
                  <c:v>1263.24</c:v>
                </c:pt>
                <c:pt idx="2">
                  <c:v>2898.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2</a:t>
                    </a:r>
                  </a:p>
                  <a:p>
                    <a:r>
                      <a:t>4900.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C$2:$C$4</c:f>
              <c:numCache>
                <c:formatCode>General</c:formatCode>
                <c:ptCount val="3"/>
                <c:pt idx="0">
                  <c:v>490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D$2:$D$4</c:f>
              <c:numCache>
                <c:formatCode>General</c:formatCode>
                <c:ptCount val="3"/>
                <c:pt idx="0">
                  <c:v>1947.62</c:v>
                </c:pt>
                <c:pt idx="1">
                  <c:v>1634.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E$2:$E$4</c:f>
              <c:numCache>
                <c:formatCode>General</c:formatCode>
                <c:ptCount val="3"/>
                <c:pt idx="0">
                  <c:v>6979.35</c:v>
                </c:pt>
                <c:pt idx="2">
                  <c:v>7963.0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52</c:v>
                </c:pt>
                <c:pt idx="1">
                  <c:v/>
                </c:pt>
                <c:pt idx="2">
                  <c:v/>
                </c:pt>
              </c:strCache>
            </c:strRef>
          </c:cat>
          <c:val>
            <c:numRef>
              <c:f>Sheet1!$F$2:$F$4</c:f>
              <c:numCache>
                <c:formatCode>General</c:formatCode>
                <c:ptCount val="3"/>
                <c:pt idx="0">
                  <c:v>11219.25</c:v>
                </c:pt>
                <c:pt idx="1">
                  <c:v>5154.47</c:v>
                </c:pt>
                <c:pt idx="2">
                  <c:v>17813.0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541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48</c:v>
                </c:pt>
                <c:pt idx="2">
                  <c:v>IX 14</c:v>
                </c:pt>
              </c:strCache>
            </c:strRef>
          </c:cat>
          <c:val>
            <c:numRef>
              <c:f>Sheet1!$B$2:$B$4</c:f>
              <c:numCache>
                <c:formatCode>General</c:formatCode>
                <c:ptCount val="3"/>
                <c:pt idx="0">
                  <c:v>1978.44</c:v>
                </c:pt>
                <c:pt idx="1">
                  <c:v>1247.84</c:v>
                </c:pt>
                <c:pt idx="2">
                  <c:v>285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380.12</a:t>
                    </a:r>
                  </a:p>
                </c:rich>
              </c:tx>
              <c:dLblPos val="l"/>
              <c:showLegendKey val="0"/>
              <c:showVal val="1"/>
              <c:showCatName val="0"/>
              <c:showSerName val="0"/>
              <c:showPercent val="0"/>
              <c:showBubbleSize val="0"/>
            </c:dLbl>
            <c:dLbl>
              <c:idx val="1"/>
              <c:tx>
                <c:rich>
                  <a:bodyPr/>
                  <a:lstStyle/>
                  <a:p>
                    <a:r>
                      <a:t>IX 48</a:t>
                    </a:r>
                  </a:p>
                  <a:p>
                    <a:r>
                      <a:t>793.8</a:t>
                    </a:r>
                  </a:p>
                </c:rich>
              </c:tx>
              <c:dLblPos val="l"/>
              <c:showLegendKey val="0"/>
              <c:showVal val="1"/>
              <c:showCatName val="0"/>
              <c:showSerName val="0"/>
              <c:showPercent val="0"/>
              <c:showBubbleSize val="0"/>
            </c:dLbl>
            <c:dLbl>
              <c:idx val="2"/>
              <c:tx>
                <c:rich>
                  <a:bodyPr/>
                  <a:lstStyle/>
                  <a:p>
                    <a:r>
                      <a:t>IX 14</a:t>
                    </a:r>
                  </a:p>
                  <a:p>
                    <a:r>
                      <a:t>1397.3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48</c:v>
                </c:pt>
                <c:pt idx="2">
                  <c:v>IX 14</c:v>
                </c:pt>
              </c:strCache>
            </c:strRef>
          </c:cat>
          <c:val>
            <c:numRef>
              <c:f>Sheet1!$C$2:$C$4</c:f>
              <c:numCache>
                <c:formatCode>General</c:formatCode>
                <c:ptCount val="3"/>
                <c:pt idx="0">
                  <c:v>1380.12</c:v>
                </c:pt>
                <c:pt idx="1">
                  <c:v>793.8</c:v>
                </c:pt>
                <c:pt idx="2">
                  <c:v>1397.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48</c:v>
                </c:pt>
                <c:pt idx="2">
                  <c:v>IX 14</c:v>
                </c:pt>
              </c:strCache>
            </c:strRef>
          </c:cat>
          <c:val>
            <c:numRef>
              <c:f>Sheet1!$D$2:$D$4</c:f>
              <c:numCache>
                <c:formatCode>General</c:formatCode>
                <c:ptCount val="3"/>
                <c:pt idx="0">
                  <c:v>2037.78</c:v>
                </c:pt>
                <c:pt idx="1">
                  <c:v>1662.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48</c:v>
                </c:pt>
                <c:pt idx="2">
                  <c:v>IX 14</c:v>
                </c:pt>
              </c:strCache>
            </c:strRef>
          </c:cat>
          <c:val>
            <c:numRef>
              <c:f>Sheet1!$E$2:$E$4</c:f>
              <c:numCache>
                <c:formatCode>General</c:formatCode>
                <c:ptCount val="3"/>
                <c:pt idx="0">
                  <c:v>7018.37</c:v>
                </c:pt>
                <c:pt idx="2">
                  <c:v>10250.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8</c:v>
                </c:pt>
                <c:pt idx="1">
                  <c:v>IX 48</c:v>
                </c:pt>
                <c:pt idx="2">
                  <c:v>IX 14</c:v>
                </c:pt>
              </c:strCache>
            </c:strRef>
          </c:cat>
          <c:val>
            <c:numRef>
              <c:f>Sheet1!$F$2:$F$4</c:f>
              <c:numCache>
                <c:formatCode>General</c:formatCode>
                <c:ptCount val="3"/>
                <c:pt idx="2">
                  <c:v>5825.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0.8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4</c:v>
                </c:pt>
                <c:pt idx="2">
                  <c:v>IX 16</c:v>
                </c:pt>
              </c:strCache>
            </c:strRef>
          </c:cat>
          <c:val>
            <c:numRef>
              <c:f>Sheet1!$B$2:$B$4</c:f>
              <c:numCache>
                <c:formatCode>General</c:formatCode>
                <c:ptCount val="3"/>
                <c:pt idx="0">
                  <c:v>1978.44</c:v>
                </c:pt>
                <c:pt idx="1">
                  <c:v>1247.84</c:v>
                </c:pt>
                <c:pt idx="2">
                  <c:v>285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6</a:t>
                    </a:r>
                  </a:p>
                  <a:p>
                    <a:r>
                      <a:t>1341.44</a:t>
                    </a:r>
                  </a:p>
                </c:rich>
              </c:tx>
              <c:dLblPos val="l"/>
              <c:showLegendKey val="0"/>
              <c:showVal val="1"/>
              <c:showCatName val="0"/>
              <c:showSerName val="0"/>
              <c:showPercent val="0"/>
              <c:showBubbleSize val="0"/>
            </c:dLbl>
            <c:dLbl>
              <c:idx val="1"/>
              <c:tx>
                <c:rich>
                  <a:bodyPr/>
                  <a:lstStyle/>
                  <a:p>
                    <a:r>
                      <a:t>IX 84</a:t>
                    </a:r>
                  </a:p>
                  <a:p>
                    <a:r>
                      <a:t>1399.08</a:t>
                    </a:r>
                  </a:p>
                </c:rich>
              </c:tx>
              <c:dLblPos val="l"/>
              <c:showLegendKey val="0"/>
              <c:showVal val="1"/>
              <c:showCatName val="0"/>
              <c:showSerName val="0"/>
              <c:showPercent val="0"/>
              <c:showBubbleSize val="0"/>
            </c:dLbl>
            <c:dLbl>
              <c:idx val="2"/>
              <c:tx>
                <c:rich>
                  <a:bodyPr/>
                  <a:lstStyle/>
                  <a:p>
                    <a:r>
                      <a:t>IX 16</a:t>
                    </a:r>
                  </a:p>
                  <a:p>
                    <a:r>
                      <a:t>1647.7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4</c:v>
                </c:pt>
                <c:pt idx="2">
                  <c:v>IX 16</c:v>
                </c:pt>
              </c:strCache>
            </c:strRef>
          </c:cat>
          <c:val>
            <c:numRef>
              <c:f>Sheet1!$C$2:$C$4</c:f>
              <c:numCache>
                <c:formatCode>General</c:formatCode>
                <c:ptCount val="3"/>
                <c:pt idx="0">
                  <c:v>1341.44</c:v>
                </c:pt>
                <c:pt idx="1">
                  <c:v>1399.08</c:v>
                </c:pt>
                <c:pt idx="2">
                  <c:v>1647.7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4</c:v>
                </c:pt>
                <c:pt idx="2">
                  <c:v>IX 16</c:v>
                </c:pt>
              </c:strCache>
            </c:strRef>
          </c:cat>
          <c:val>
            <c:numRef>
              <c:f>Sheet1!$D$2:$D$4</c:f>
              <c:numCache>
                <c:formatCode>General</c:formatCode>
                <c:ptCount val="3"/>
                <c:pt idx="0">
                  <c:v>2037.78</c:v>
                </c:pt>
                <c:pt idx="1">
                  <c:v>1662.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4</c:v>
                </c:pt>
                <c:pt idx="2">
                  <c:v>IX 16</c:v>
                </c:pt>
              </c:strCache>
            </c:strRef>
          </c:cat>
          <c:val>
            <c:numRef>
              <c:f>Sheet1!$E$2:$E$4</c:f>
              <c:numCache>
                <c:formatCode>General</c:formatCode>
                <c:ptCount val="3"/>
                <c:pt idx="0">
                  <c:v>7018.37</c:v>
                </c:pt>
                <c:pt idx="2">
                  <c:v>10250.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4</c:v>
                </c:pt>
                <c:pt idx="2">
                  <c:v>IX 16</c:v>
                </c:pt>
              </c:strCache>
            </c:strRef>
          </c:cat>
          <c:val>
            <c:numRef>
              <c:f>Sheet1!$F$2:$F$4</c:f>
              <c:numCache>
                <c:formatCode>General</c:formatCode>
                <c:ptCount val="3"/>
                <c:pt idx="2">
                  <c:v>5825.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0.8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B$2:$B$4</c:f>
              <c:numCache>
                <c:formatCode>General</c:formatCode>
                <c:ptCount val="3"/>
                <c:pt idx="0">
                  <c:v>1978.44</c:v>
                </c:pt>
                <c:pt idx="1">
                  <c:v>1247.84</c:v>
                </c:pt>
                <c:pt idx="2">
                  <c:v>285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8</a:t>
                    </a:r>
                  </a:p>
                  <a:p>
                    <a:r>
                      <a:t>5051.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C$2:$C$4</c:f>
              <c:numCache>
                <c:formatCode>General</c:formatCode>
                <c:ptCount val="3"/>
                <c:pt idx="0">
                  <c:v>5051.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D$2:$D$4</c:f>
              <c:numCache>
                <c:formatCode>General</c:formatCode>
                <c:ptCount val="3"/>
                <c:pt idx="0">
                  <c:v>2037.78</c:v>
                </c:pt>
                <c:pt idx="1">
                  <c:v>1662.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E$2:$E$4</c:f>
              <c:numCache>
                <c:formatCode>General</c:formatCode>
                <c:ptCount val="3"/>
                <c:pt idx="0">
                  <c:v>7018.37</c:v>
                </c:pt>
                <c:pt idx="2">
                  <c:v>10250.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ustel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248</c:v>
                </c:pt>
                <c:pt idx="1">
                  <c:v/>
                </c:pt>
                <c:pt idx="2">
                  <c:v/>
                </c:pt>
              </c:strCache>
            </c:strRef>
          </c:cat>
          <c:val>
            <c:numRef>
              <c:f>Sheet1!$F$2:$F$4</c:f>
              <c:numCache>
                <c:formatCode>General</c:formatCode>
                <c:ptCount val="3"/>
                <c:pt idx="2">
                  <c:v>5825.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50.833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68</c:v>
                </c:pt>
                <c:pt idx="2">
                  <c:v>IX 23</c:v>
                </c:pt>
              </c:strCache>
            </c:strRef>
          </c:cat>
          <c:val>
            <c:numRef>
              <c:f>Sheet1!$B$2:$B$4</c:f>
              <c:numCache>
                <c:formatCode>General</c:formatCode>
                <c:ptCount val="3"/>
                <c:pt idx="0">
                  <c:v>2358.94</c:v>
                </c:pt>
                <c:pt idx="1">
                  <c:v>1297.26</c:v>
                </c:pt>
                <c:pt idx="2">
                  <c:v>3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3</a:t>
                    </a:r>
                  </a:p>
                  <a:p>
                    <a:r>
                      <a:t>1292.15</a:t>
                    </a:r>
                  </a:p>
                </c:rich>
              </c:tx>
              <c:dLblPos val="l"/>
              <c:showLegendKey val="0"/>
              <c:showVal val="1"/>
              <c:showCatName val="0"/>
              <c:showSerName val="0"/>
              <c:showPercent val="0"/>
              <c:showBubbleSize val="0"/>
            </c:dLbl>
            <c:dLbl>
              <c:idx val="1"/>
              <c:tx>
                <c:rich>
                  <a:bodyPr/>
                  <a:lstStyle/>
                  <a:p>
                    <a:r>
                      <a:t>IX 68</a:t>
                    </a:r>
                  </a:p>
                  <a:p>
                    <a:r>
                      <a:t>1090.08</a:t>
                    </a:r>
                  </a:p>
                </c:rich>
              </c:tx>
              <c:dLblPos val="l"/>
              <c:showLegendKey val="0"/>
              <c:showVal val="1"/>
              <c:showCatName val="0"/>
              <c:showSerName val="0"/>
              <c:showPercent val="0"/>
              <c:showBubbleSize val="0"/>
            </c:dLbl>
            <c:dLbl>
              <c:idx val="2"/>
              <c:tx>
                <c:rich>
                  <a:bodyPr/>
                  <a:lstStyle/>
                  <a:p>
                    <a:r>
                      <a:t>IX 23</a:t>
                    </a:r>
                  </a:p>
                  <a:p>
                    <a:r>
                      <a:t>1263.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68</c:v>
                </c:pt>
                <c:pt idx="2">
                  <c:v>IX 23</c:v>
                </c:pt>
              </c:strCache>
            </c:strRef>
          </c:cat>
          <c:val>
            <c:numRef>
              <c:f>Sheet1!$C$2:$C$4</c:f>
              <c:numCache>
                <c:formatCode>General</c:formatCode>
                <c:ptCount val="3"/>
                <c:pt idx="0">
                  <c:v>1292.15</c:v>
                </c:pt>
                <c:pt idx="1">
                  <c:v>1090.08</c:v>
                </c:pt>
                <c:pt idx="2">
                  <c:v>1263.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68</c:v>
                </c:pt>
                <c:pt idx="2">
                  <c:v>IX 23</c:v>
                </c:pt>
              </c:strCache>
            </c:strRef>
          </c:cat>
          <c:val>
            <c:numRef>
              <c:f>Sheet1!$D$2:$D$4</c:f>
              <c:numCache>
                <c:formatCode>General</c:formatCode>
                <c:ptCount val="3"/>
                <c:pt idx="0">
                  <c:v>2038.02</c:v>
                </c:pt>
                <c:pt idx="1">
                  <c:v>1613.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68</c:v>
                </c:pt>
                <c:pt idx="2">
                  <c:v>IX 23</c:v>
                </c:pt>
              </c:strCache>
            </c:strRef>
          </c:cat>
          <c:val>
            <c:numRef>
              <c:f>Sheet1!$E$2:$E$4</c:f>
              <c:numCache>
                <c:formatCode>General</c:formatCode>
                <c:ptCount val="3"/>
                <c:pt idx="0">
                  <c:v>7520.08</c:v>
                </c:pt>
                <c:pt idx="2">
                  <c:v>5465.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3</c:v>
                </c:pt>
                <c:pt idx="1">
                  <c:v>IX 68</c:v>
                </c:pt>
                <c:pt idx="2">
                  <c:v>IX 23</c:v>
                </c:pt>
              </c:strCache>
            </c:strRef>
          </c:cat>
          <c:val>
            <c:numRef>
              <c:f>Sheet1!$F$2:$F$4</c:f>
              <c:numCache>
                <c:formatCode>General</c:formatCode>
                <c:ptCount val="3"/>
                <c:pt idx="0">
                  <c:v>10465.46</c:v>
                </c:pt>
                <c:pt idx="1">
                  <c:v>4674.35</c:v>
                </c:pt>
                <c:pt idx="2">
                  <c:v>12659.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089.57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3</c:v>
                </c:pt>
                <c:pt idx="2">
                  <c:v>IX 30</c:v>
                </c:pt>
              </c:strCache>
            </c:strRef>
          </c:cat>
          <c:val>
            <c:numRef>
              <c:f>Sheet1!$B$2:$B$4</c:f>
              <c:numCache>
                <c:formatCode>General</c:formatCode>
                <c:ptCount val="3"/>
                <c:pt idx="0">
                  <c:v>2358.94</c:v>
                </c:pt>
                <c:pt idx="1">
                  <c:v>1297.26</c:v>
                </c:pt>
                <c:pt idx="2">
                  <c:v>3054.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1323.99</a:t>
                    </a:r>
                  </a:p>
                </c:rich>
              </c:tx>
              <c:dLblPos val="l"/>
              <c:showLegendKey val="0"/>
              <c:showVal val="1"/>
              <c:showCatName val="0"/>
              <c:showSerName val="0"/>
              <c:showPercent val="0"/>
              <c:showBubbleSize val="0"/>
            </c:dLbl>
            <c:dLbl>
              <c:idx val="1"/>
              <c:tx>
                <c:rich>
                  <a:bodyPr/>
                  <a:lstStyle/>
                  <a:p>
                    <a:r>
                      <a:t>IX 83</a:t>
                    </a:r>
                  </a:p>
                  <a:p>
                    <a:r>
                      <a:t>1343.74</a:t>
                    </a:r>
                  </a:p>
                </c:rich>
              </c:tx>
              <c:dLblPos val="l"/>
              <c:showLegendKey val="0"/>
              <c:showVal val="1"/>
              <c:showCatName val="0"/>
              <c:showSerName val="0"/>
              <c:showPercent val="0"/>
              <c:showBubbleSize val="0"/>
            </c:dLbl>
            <c:dLbl>
              <c:idx val="2"/>
              <c:tx>
                <c:rich>
                  <a:bodyPr/>
                  <a:lstStyle/>
                  <a:p>
                    <a:r>
                      <a:t>IX 30</a:t>
                    </a:r>
                  </a:p>
                  <a:p>
                    <a:r>
                      <a:t>1626.9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3</c:v>
                </c:pt>
                <c:pt idx="2">
                  <c:v>IX 30</c:v>
                </c:pt>
              </c:strCache>
            </c:strRef>
          </c:cat>
          <c:val>
            <c:numRef>
              <c:f>Sheet1!$C$2:$C$4</c:f>
              <c:numCache>
                <c:formatCode>General</c:formatCode>
                <c:ptCount val="3"/>
                <c:pt idx="0">
                  <c:v>1323.99</c:v>
                </c:pt>
                <c:pt idx="1">
                  <c:v>1343.74</c:v>
                </c:pt>
                <c:pt idx="2">
                  <c:v>1626.9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3</c:v>
                </c:pt>
                <c:pt idx="2">
                  <c:v>IX 30</c:v>
                </c:pt>
              </c:strCache>
            </c:strRef>
          </c:cat>
          <c:val>
            <c:numRef>
              <c:f>Sheet1!$D$2:$D$4</c:f>
              <c:numCache>
                <c:formatCode>General</c:formatCode>
                <c:ptCount val="3"/>
                <c:pt idx="0">
                  <c:v>2038.02</c:v>
                </c:pt>
                <c:pt idx="1">
                  <c:v>1613.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3</c:v>
                </c:pt>
                <c:pt idx="2">
                  <c:v>IX 30</c:v>
                </c:pt>
              </c:strCache>
            </c:strRef>
          </c:cat>
          <c:val>
            <c:numRef>
              <c:f>Sheet1!$E$2:$E$4</c:f>
              <c:numCache>
                <c:formatCode>General</c:formatCode>
                <c:ptCount val="3"/>
                <c:pt idx="0">
                  <c:v>7520.08</c:v>
                </c:pt>
                <c:pt idx="2">
                  <c:v>5465.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3</c:v>
                </c:pt>
                <c:pt idx="2">
                  <c:v>IX 30</c:v>
                </c:pt>
              </c:strCache>
            </c:strRef>
          </c:cat>
          <c:val>
            <c:numRef>
              <c:f>Sheet1!$F$2:$F$4</c:f>
              <c:numCache>
                <c:formatCode>General</c:formatCode>
                <c:ptCount val="3"/>
                <c:pt idx="0">
                  <c:v>10465.46</c:v>
                </c:pt>
                <c:pt idx="1">
                  <c:v>4674.35</c:v>
                </c:pt>
                <c:pt idx="2">
                  <c:v>12659.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2660.2143"/>
          <c:min val="1296.75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6/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2.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1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6.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2.xml"/></Relationships>
</file>

<file path=ppt/notesSlides/_rels/notesSlide1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xml"/></Relationships>
</file>

<file path=ppt/notesSlides/_rels/notesSlide1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xml"/></Relationships>
</file>

<file path=ppt/notesSlides/_rels/notesSlide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2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xml"/></Relationships>
</file>

<file path=ppt/notesSlides/_rels/notesSlide2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xml"/></Relationships>
</file>

<file path=ppt/notesSlides/_rels/notesSlide2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7.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2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xml"/></Relationships>
</file>

<file path=ppt/notesSlides/_rels/notesSlide2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4.xml"/></Relationships>
</file>

<file path=ppt/notesSlides/_rels/notesSlide2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5.xml"/></Relationships>
</file>

<file path=ppt/notesSlides/_rels/notesSlide2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6.xml"/></Relationships>
</file>

<file path=ppt/notesSlides/_rels/notesSlide2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xml"/></Relationships>
</file>

<file path=ppt/notesSlides/_rels/notesSlide2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0.xml"/></Relationships>
</file>

<file path=ppt/notesSlides/_rels/notesSlide2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1.xml"/></Relationships>
</file>

<file path=ppt/notesSlides/_rels/notesSlide2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2.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3.xml"/></Relationships>
</file>

<file path=ppt/notesSlides/_rels/notesSlide2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4.xml"/></Relationships>
</file>

<file path=ppt/notesSlides/_rels/notesSlide2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5.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7.xml"/></Relationships>
</file>

<file path=ppt/notesSlides/_rels/notesSlide2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8.xml"/></Relationships>
</file>

<file path=ppt/notesSlides/_rels/notesSlide2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9.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0.xml"/></Relationships>
</file>

<file path=ppt/notesSlides/_rels/notesSlide2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1.xml"/></Relationships>
</file>

<file path=ppt/notesSlides/_rels/notesSlide2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2.xml"/></Relationships>
</file>

<file path=ppt/notesSlides/_rels/notesSlide2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3.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2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6.xml"/></Relationships>
</file>

<file path=ppt/notesSlides/_rels/notesSlide2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7.xml"/></Relationships>
</file>

<file path=ppt/notesSlides/_rels/notesSlide2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8.xml"/></Relationships>
</file>

<file path=ppt/notesSlides/_rels/notesSlide2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0.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1.xml"/></Relationships>
</file>

<file path=ppt/notesSlides/_rels/notesSlide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2.xml"/></Relationships>
</file>

<file path=ppt/notesSlides/_rels/notesSlide2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3.xml"/></Relationships>
</file>

<file path=ppt/notesSlides/_rels/notesSlide2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4.xml"/></Relationships>
</file>

<file path=ppt/notesSlides/_rels/notesSlide2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5.xml"/></Relationships>
</file>

<file path=ppt/notesSlides/_rels/notesSlide2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6.xml"/></Relationships>
</file>

<file path=ppt/notesSlides/_rels/notesSlide2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7.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9.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0.xml"/></Relationships>
</file>

<file path=ppt/notesSlides/_rels/notesSlide2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1.xml"/></Relationships>
</file>

<file path=ppt/notesSlides/_rels/notesSlide2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xml"/></Relationships>
</file>

<file path=ppt/notesSlides/_rels/notesSlide2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3.xml"/></Relationships>
</file>

<file path=ppt/notesSlides/_rels/notesSlide2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4.xml"/></Relationships>
</file>

<file path=ppt/notesSlides/_rels/notesSlide2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5.xml"/></Relationships>
</file>

<file path=ppt/notesSlides/_rels/notesSlide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6.xml"/></Relationships>
</file>

<file path=ppt/notesSlides/_rels/notesSlide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7.xml"/></Relationships>
</file>

<file path=ppt/notesSlides/_rels/notesSlide2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8.xml"/></Relationships>
</file>

<file path=ppt/notesSlides/_rels/notesSlide2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0.xml"/></Relationships>
</file>

<file path=ppt/notesSlides/_rels/notesSlide2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1.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2.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xml"/></Relationships>
</file>

<file path=ppt/notesSlides/_rels/notesSlide2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5.xml"/></Relationships>
</file>

<file path=ppt/notesSlides/_rels/notesSlide2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xml"/></Relationships>
</file>

<file path=ppt/notesSlides/_rels/notesSlide2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7.xml"/></Relationships>
</file>

<file path=ppt/notesSlides/_rels/notesSlide2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8.xml"/></Relationships>
</file>

<file path=ppt/notesSlides/_rels/notesSlide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0.xml"/></Relationships>
</file>

<file path=ppt/notesSlides/_rels/notesSlide2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1.xml"/></Relationships>
</file>

<file path=ppt/notesSlides/_rels/notesSlide2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2.xml"/></Relationships>
</file>

<file path=ppt/notesSlides/_rels/notesSlide2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3.xml"/></Relationships>
</file>

<file path=ppt/notesSlides/_rels/notesSlide2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4.xml"/></Relationships>
</file>

<file path=ppt/notesSlides/_rels/notesSlide2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5.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6.xml"/></Relationships>
</file>

<file path=ppt/notesSlides/_rels/notesSlide2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7.xml"/></Relationships>
</file>

<file path=ppt/notesSlides/_rels/notesSlide2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8.xml"/></Relationships>
</file>

<file path=ppt/notesSlides/_rels/notesSlide2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0.xml"/></Relationships>
</file>

<file path=ppt/notesSlides/_rels/notesSlide2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1.xml"/></Relationships>
</file>

<file path=ppt/notesSlides/_rels/notesSlide2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2.xml"/></Relationships>
</file>

<file path=ppt/notesSlides/_rels/notesSlide2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3.xml"/></Relationships>
</file>

<file path=ppt/notesSlides/_rels/notesSlide2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4.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5.xml"/></Relationships>
</file>

<file path=ppt/notesSlides/_rels/notesSlide2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6.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7.xml"/></Relationships>
</file>

<file path=ppt/notesSlides/_rels/notesSlide2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8.xml"/></Relationships>
</file>

<file path=ppt/notesSlides/_rels/notesSlide2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0.xml"/></Relationships>
</file>

<file path=ppt/notesSlides/_rels/notesSlide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1.xml"/></Relationships>
</file>

<file path=ppt/notesSlides/_rels/notesSlide2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2.xml"/></Relationships>
</file>

<file path=ppt/notesSlides/_rels/notesSlide2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3.xml"/></Relationships>
</file>

<file path=ppt/notesSlides/_rels/notesSlide2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4.xml"/></Relationships>
</file>

<file path=ppt/notesSlides/_rels/notesSlide2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5.xml"/></Relationships>
</file>

<file path=ppt/notesSlides/_rels/notesSlide2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6.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7.xml"/></Relationships>
</file>

<file path=ppt/notesSlides/_rels/notesSlide2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8.xml"/></Relationships>
</file>

<file path=ppt/notesSlides/_rels/notesSlide2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0.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1.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2.xml"/></Relationships>
</file>

<file path=ppt/notesSlides/_rels/notesSlide3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3.xml"/></Relationships>
</file>

<file path=ppt/notesSlides/_rels/notesSlide3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4.xml"/></Relationships>
</file>

<file path=ppt/notesSlides/_rels/notesSlide3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5.xml"/></Relationships>
</file>

<file path=ppt/notesSlides/_rels/notesSlide3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6.xml"/></Relationships>
</file>

<file path=ppt/notesSlides/_rels/notesSlide3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7.xml"/></Relationships>
</file>

<file path=ppt/notesSlides/_rels/notesSlide3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8.xml"/></Relationships>
</file>

<file path=ppt/notesSlides/_rels/notesSlide3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9.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0.xml"/></Relationships>
</file>

<file path=ppt/notesSlides/_rels/notesSlide3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1.xml"/></Relationships>
</file>

<file path=ppt/notesSlides/_rels/notesSlide3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2.xml"/></Relationships>
</file>

<file path=ppt/notesSlides/_rels/notesSlide3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3.xml"/></Relationships>
</file>

<file path=ppt/notesSlides/_rels/notesSlide3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4.xml"/></Relationships>
</file>

<file path=ppt/notesSlides/_rels/notesSlide3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5.xml"/></Relationships>
</file>

<file path=ppt/notesSlides/_rels/notesSlide3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6.xml"/></Relationships>
</file>

<file path=ppt/notesSlides/_rels/notesSlide3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7.xml"/></Relationships>
</file>

<file path=ppt/notesSlides/_rels/notesSlide3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8.xml"/></Relationships>
</file>

<file path=ppt/notesSlides/_rels/notesSlide3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9.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0.xml"/></Relationships>
</file>

<file path=ppt/notesSlides/_rels/notesSlide3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1.xml"/></Relationships>
</file>

<file path=ppt/notesSlides/_rels/notesSlide3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2.xml"/></Relationships>
</file>

<file path=ppt/notesSlides/_rels/notesSlide3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3.xml"/></Relationships>
</file>

<file path=ppt/notesSlides/_rels/notesSlide3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4.xml"/></Relationships>
</file>

<file path=ppt/notesSlides/_rels/notesSlide3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5.xml"/></Relationships>
</file>

<file path=ppt/notesSlides/_rels/notesSlide3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6.xml"/></Relationships>
</file>

<file path=ppt/notesSlides/_rels/notesSlide3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7.xml"/></Relationships>
</file>

<file path=ppt/notesSlides/_rels/notesSlide3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8.xml"/></Relationships>
</file>

<file path=ppt/notesSlides/_rels/notesSlide3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9.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0.xml"/></Relationships>
</file>

<file path=ppt/notesSlides/_rels/notesSlide3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1.xml"/></Relationships>
</file>

<file path=ppt/notesSlides/_rels/notesSlide3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2.xml"/></Relationships>
</file>

<file path=ppt/notesSlides/_rels/notesSlide3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3.xml"/></Relationships>
</file>

<file path=ppt/notesSlides/_rels/notesSlide3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4.xml"/></Relationships>
</file>

<file path=ppt/notesSlides/_rels/notesSlide3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5.xml"/></Relationships>
</file>

<file path=ppt/notesSlides/_rels/notesSlide3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6.xml"/></Relationships>
</file>

<file path=ppt/notesSlides/_rels/notesSlide3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7.xml"/></Relationships>
</file>

<file path=ppt/notesSlides/_rels/notesSlide3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8.xml"/></Relationships>
</file>

<file path=ppt/notesSlides/_rels/notesSlide3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9.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0.xml"/></Relationships>
</file>

<file path=ppt/notesSlides/_rels/notesSlide3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1.xml"/></Relationships>
</file>

<file path=ppt/notesSlides/_rels/notesSlide3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2.xml"/></Relationships>
</file>

<file path=ppt/notesSlides/_rels/notesSlide3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3.xml"/></Relationships>
</file>

<file path=ppt/notesSlides/_rels/notesSlide3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4.xml"/></Relationships>
</file>

<file path=ppt/notesSlides/_rels/notesSlide3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5.xml"/></Relationships>
</file>

<file path=ppt/notesSlides/_rels/notesSlide3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6.xml"/></Relationships>
</file>

<file path=ppt/notesSlides/_rels/notesSlide3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7.xml"/></Relationships>
</file>

<file path=ppt/notesSlides/_rels/notesSlide3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8.xml"/></Relationships>
</file>

<file path=ppt/notesSlides/_rels/notesSlide3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9.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0.xml"/></Relationships>
</file>

<file path=ppt/notesSlides/_rels/notesSlide3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1.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2.xml"/></Relationships>
</file>

<file path=ppt/notesSlides/_rels/notesSlide3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3.xml"/></Relationships>
</file>

<file path=ppt/notesSlides/_rels/notesSlide3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4.xml"/></Relationships>
</file>

<file path=ppt/notesSlides/_rels/notesSlide3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5.xml"/></Relationships>
</file>

<file path=ppt/notesSlides/_rels/notesSlide3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6.xml"/></Relationships>
</file>

<file path=ppt/notesSlides/_rels/notesSlide3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7.xml"/></Relationships>
</file>

<file path=ppt/notesSlides/_rels/notesSlide3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8.xml"/></Relationships>
</file>

<file path=ppt/notesSlides/_rels/notesSlide3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9.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0.xml"/></Relationships>
</file>

<file path=ppt/notesSlides/_rels/notesSlide3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1.xml"/></Relationships>
</file>

<file path=ppt/notesSlides/_rels/notesSlide3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2.xml"/></Relationships>
</file>

<file path=ppt/notesSlides/_rels/notesSlide3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3.xml"/></Relationships>
</file>

<file path=ppt/notesSlides/_rels/notesSlide3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4.xml"/></Relationships>
</file>

<file path=ppt/notesSlides/_rels/notesSlide3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5.xml"/></Relationships>
</file>

<file path=ppt/notesSlides/_rels/notesSlide3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6.xml"/></Relationships>
</file>

<file path=ppt/notesSlides/_rels/notesSlide3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7.xml"/></Relationships>
</file>

<file path=ppt/notesSlides/_rels/notesSlide3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8.xml"/></Relationships>
</file>

<file path=ppt/notesSlides/_rels/notesSlide3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9.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0.xml"/></Relationships>
</file>

<file path=ppt/notesSlides/_rels/notesSlide3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1.xml"/></Relationships>
</file>

<file path=ppt/notesSlides/_rels/notesSlide3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2.xml"/></Relationships>
</file>

<file path=ppt/notesSlides/_rels/notesSlide3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3.xml"/></Relationships>
</file>

<file path=ppt/notesSlides/_rels/notesSlide3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4.xml"/></Relationships>
</file>

<file path=ppt/notesSlides/_rels/notesSlide3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5.xml"/></Relationships>
</file>

<file path=ppt/notesSlides/_rels/notesSlide3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6.xml"/></Relationships>
</file>

<file path=ppt/notesSlides/_rels/notesSlide3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7.xml"/></Relationships>
</file>

<file path=ppt/notesSlides/_rels/notesSlide3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8.xml"/></Relationships>
</file>

<file path=ppt/notesSlides/_rels/notesSlide3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9.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0.xml"/></Relationships>
</file>

<file path=ppt/notesSlides/_rels/notesSlide3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1.xml"/></Relationships>
</file>

<file path=ppt/notesSlides/_rels/notesSlide3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2.xml"/></Relationships>
</file>

<file path=ppt/notesSlides/_rels/notesSlide3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3.xml"/></Relationships>
</file>

<file path=ppt/notesSlides/_rels/notesSlide3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4.xml"/></Relationships>
</file>

<file path=ppt/notesSlides/_rels/notesSlide3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5.xml"/></Relationships>
</file>

<file path=ppt/notesSlides/_rels/notesSlide3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6.xml"/></Relationships>
</file>

<file path=ppt/notesSlides/_rels/notesSlide3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7.xml"/></Relationships>
</file>

<file path=ppt/notesSlides/_rels/notesSlide3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8.xml"/></Relationships>
</file>

<file path=ppt/notesSlides/_rels/notesSlide3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9.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0.xml"/></Relationships>
</file>

<file path=ppt/notesSlides/_rels/notesSlide3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1.xml"/></Relationships>
</file>

<file path=ppt/notesSlides/_rels/notesSlide3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2.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6/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notesSlide" Target="../notesSlides/notesSlide1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notesSlide" Target="../notesSlides/notesSlide1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notesSlide" Target="../notesSlides/notesSlide1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notesSlide" Target="../notesSlides/notesSlide1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notesSlide" Target="../notesSlides/notesSlide1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notesSlide" Target="../notesSlides/notesSlide1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notesSlide" Target="../notesSlides/notesSlide1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notesSlide" Target="../notesSlides/notesSlide1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notesSlide" Target="../notesSlides/notesSlide1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notesSlide" Target="../notesSlides/notesSlide1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notesSlide" Target="../notesSlides/notesSlide1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notesSlide" Target="../notesSlides/notesSlide1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notesSlide" Target="../notesSlides/notesSlide1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notesSlide" Target="../notesSlides/notesSlide1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notesSlide" Target="../notesSlides/notesSlide1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notesSlide" Target="../notesSlides/notesSlide1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notesSlide" Target="../notesSlides/notesSlide1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6.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notesSlide" Target="../notesSlides/notesSlide1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notesSlide" Target="../notesSlides/notesSlide1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notesSlide" Target="../notesSlides/notesSlide1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notesSlide" Target="../notesSlides/notesSlide1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notesSlide" Target="../notesSlides/notesSlide1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notesSlide" Target="../notesSlides/notesSlide1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4.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notesSlide" Target="../notesSlides/notesSlide1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notesSlide" Target="../notesSlides/notesSlide1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7.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notesSlide" Target="../notesSlides/notesSlide1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notesSlide" Target="../notesSlides/notesSlide1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notesSlide" Target="../notesSlides/notesSlide1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notesSlide" Target="../notesSlides/notesSlide1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notesSlide" Target="../notesSlides/notesSlide1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notesSlide" Target="../notesSlides/notesSlide1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notesSlide" Target="../notesSlides/notesSlide1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notesSlide" Target="../notesSlides/notesSlide1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notesSlide" Target="../notesSlides/notesSlide1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notesSlide" Target="../notesSlides/notesSlide1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notesSlide" Target="../notesSlides/notesSlide1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notesSlide" Target="../notesSlides/notesSlide1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notesSlide" Target="../notesSlides/notesSlide1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notesSlide" Target="../notesSlides/notesSlide1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3.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notesSlide" Target="../notesSlides/notesSlide1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notesSlide" Target="../notesSlides/notesSlide1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notesSlide" Target="../notesSlides/notesSlide1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notesSlide" Target="../notesSlides/notesSlide1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notesSlide" Target="../notesSlides/notesSlide1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notesSlide" Target="../notesSlides/notesSlide1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notesSlide" Target="../notesSlides/notesSlide1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notesSlide" Target="../notesSlides/notesSlide1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notesSlide" Target="../notesSlides/notesSlide1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notesSlide" Target="../notesSlides/notesSlide1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notesSlide" Target="../notesSlides/notesSlide1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notesSlide" Target="../notesSlides/notesSlide1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1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notesSlide" Target="../notesSlides/notesSlide1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notesSlide" Target="../notesSlides/notesSlide1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notesSlide" Target="../notesSlides/notesSlide1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notesSlide" Target="../notesSlides/notesSlide2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notesSlide" Target="../notesSlides/notesSlide2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notesSlide" Target="../notesSlides/notesSlide2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notesSlide" Target="../notesSlides/notesSlide2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notesSlide" Target="../notesSlides/notesSlide2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notesSlide" Target="../notesSlides/notesSlide2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notesSlide" Target="../notesSlides/notesSlide2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notesSlide" Target="../notesSlides/notesSlide2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notesSlide" Target="../notesSlides/notesSlide2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notesSlide" Target="../notesSlides/notesSlide2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notesSlide" Target="../notesSlides/notesSlide2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notesSlide" Target="../notesSlides/notesSlide2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notesSlide" Target="../notesSlides/notesSlide2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notesSlide" Target="../notesSlides/notesSlide2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notesSlide" Target="../notesSlides/notesSlide2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notesSlide" Target="../notesSlides/notesSlide2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notesSlide" Target="../notesSlides/notesSlide2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6.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notesSlide" Target="../notesSlides/notesSlide2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notesSlide" Target="../notesSlides/notesSlide2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notesSlide" Target="../notesSlides/notesSlide2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notesSlide" Target="../notesSlides/notesSlide2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0.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notesSlide" Target="../notesSlides/notesSlide2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notesSlide" Target="../notesSlides/notesSlide2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notesSlide" Target="../notesSlides/notesSlide2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notesSlide" Target="../notesSlides/notesSlide2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4.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notesSlide" Target="../notesSlides/notesSlide2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notesSlide" Target="../notesSlides/notesSlide2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notesSlide" Target="../notesSlides/notesSlide2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7.xml"/></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notesSlide" Target="../notesSlides/notesSlide2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8.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notesSlide" Target="../notesSlides/notesSlide2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notesSlide" Target="../notesSlides/notesSlide2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notesSlide" Target="../notesSlides/notesSlide2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1.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notesSlide" Target="../notesSlides/notesSlide2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notesSlide" Target="../notesSlides/notesSlide2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notesSlide" Target="../notesSlides/notesSlide2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notesSlide" Target="../notesSlides/notesSlide2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notesSlide" Target="../notesSlides/notesSlide2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notesSlide" Target="../notesSlides/notesSlide2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notesSlide" Target="../notesSlides/notesSlide2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8.xml"/></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notesSlide" Target="../notesSlides/notesSlide2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9.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notesSlide" Target="../notesSlides/notesSlide2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notesSlide" Target="../notesSlides/notesSlide2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notesSlide" Target="../notesSlides/notesSlide2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2.xml"/></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notesSlide" Target="../notesSlides/notesSlide2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notesSlide" Target="../notesSlides/notesSlide2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4.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notesSlide" Target="../notesSlides/notesSlide2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5.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notesSlide" Target="../notesSlides/notesSlide2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6.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notesSlide" Target="../notesSlides/notesSlide2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notesSlide" Target="../notesSlides/notesSlide2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8.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notesSlide" Target="../notesSlides/notesSlide2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50.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7.xml"/><Relationship Id="rId3" Type="http://schemas.openxmlformats.org/officeDocument/2006/relationships/notesSlide" Target="../notesSlides/notesSlide2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0.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notesSlide" Target="../notesSlides/notesSlide2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1.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notesSlide" Target="../notesSlides/notesSlide2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2.xml"/></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notesSlide" Target="../notesSlides/notesSlide2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notesSlide" Target="../notesSlides/notesSlide2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notesSlide" Target="../notesSlides/notesSlide2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5.xml"/></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notesSlide" Target="../notesSlides/notesSlide2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6.xml"/></Relationships>
</file>

<file path=ppt/slides/_rels/slide257.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notesSlide" Target="../notesSlides/notesSlide2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notesSlide" Target="../notesSlides/notesSlide2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8.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notesSlide" Target="../notesSlides/notesSlide2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9.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notesSlide" Target="../notesSlides/notesSlide2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0.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notesSlide" Target="../notesSlides/notesSlide2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1.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notesSlide" Target="../notesSlides/notesSlide2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notesSlide" Target="../notesSlides/notesSlide2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notesSlide" Target="../notesSlides/notesSlide2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4.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notesSlide" Target="../notesSlides/notesSlide2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notesSlide" Target="../notesSlides/notesSlide2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6.xml"/></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notesSlide" Target="../notesSlides/notesSlide2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7.xml"/></Relationships>
</file>

<file path=ppt/slides/_rels/slide268.xml.rels><?xml version='1.0' encoding='UTF-8' standalone='yes'?>
<Relationships xmlns="http://schemas.openxmlformats.org/package/2006/relationships"><Relationship Id="rId1" Type="http://schemas.openxmlformats.org/officeDocument/2006/relationships/tags" Target="../tags/tag295.xml"/><Relationship Id="rId2" Type="http://schemas.openxmlformats.org/officeDocument/2006/relationships/slideLayout" Target="../slideLayouts/slideLayout7.xml"/><Relationship Id="rId3" Type="http://schemas.openxmlformats.org/officeDocument/2006/relationships/notesSlide" Target="../notesSlides/notesSlide2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notesSlide" Target="../notesSlides/notesSlide2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9.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notesSlide" Target="../notesSlides/notesSlide2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0.xml"/></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notesSlide" Target="../notesSlides/notesSlide2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1.xml"/></Relationships>
</file>

<file path=ppt/slides/_rels/slide272.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notesSlide" Target="../notesSlides/notesSlide2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2.xml"/></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notesSlide" Target="../notesSlides/notesSlide2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notesSlide" Target="../notesSlides/notesSlide2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4.xml"/></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notesSlide" Target="../notesSlides/notesSlide2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5.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notesSlide" Target="../notesSlides/notesSlide2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notesSlide" Target="../notesSlides/notesSlide2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s>
</file>

<file path=ppt/slides/_rels/slide278.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notesSlide" Target="../notesSlides/notesSlide2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8.xml"/></Relationships>
</file>

<file path=ppt/slides/_rels/slide279.xml.rels><?xml version='1.0' encoding='UTF-8' standalone='yes'?>
<Relationships xmlns="http://schemas.openxmlformats.org/package/2006/relationships"><Relationship Id="rId1" Type="http://schemas.openxmlformats.org/officeDocument/2006/relationships/tags" Target="../tags/tag306.xml"/><Relationship Id="rId2" Type="http://schemas.openxmlformats.org/officeDocument/2006/relationships/slideLayout" Target="../slideLayouts/slideLayout7.xml"/><Relationship Id="rId3" Type="http://schemas.openxmlformats.org/officeDocument/2006/relationships/notesSlide" Target="../notesSlides/notesSlide2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9.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notesSlide" Target="../notesSlides/notesSlide2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0.xml"/></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notesSlide" Target="../notesSlides/notesSlide2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notesSlide" Target="../notesSlides/notesSlide2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2.xml"/></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notesSlide" Target="../notesSlides/notesSlide2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3.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notesSlide" Target="../notesSlides/notesSlide2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4.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notesSlide" Target="../notesSlides/notesSlide2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5.xml"/></Relationships>
</file>

<file path=ppt/slides/_rels/slide286.xml.rels><?xml version='1.0' encoding='UTF-8' standalone='yes'?>
<Relationships xmlns="http://schemas.openxmlformats.org/package/2006/relationships"><Relationship Id="rId1" Type="http://schemas.openxmlformats.org/officeDocument/2006/relationships/tags" Target="../tags/tag313.xml"/><Relationship Id="rId2" Type="http://schemas.openxmlformats.org/officeDocument/2006/relationships/slideLayout" Target="../slideLayouts/slideLayout7.xml"/><Relationship Id="rId3" Type="http://schemas.openxmlformats.org/officeDocument/2006/relationships/notesSlide" Target="../notesSlides/notesSlide2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6.xml"/></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notesSlide" Target="../notesSlides/notesSlide2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notesSlide" Target="../notesSlides/notesSlide2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8.xml"/></Relationships>
</file>

<file path=ppt/slides/_rels/slide289.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notesSlide" Target="../notesSlides/notesSlide2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notesSlide" Target="../notesSlides/notesSlide2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0.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notesSlide" Target="../notesSlides/notesSlide2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1.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notesSlide" Target="../notesSlides/notesSlide2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2.xml"/></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notesSlide" Target="../notesSlides/notesSlide2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3.xml"/></Relationships>
</file>

<file path=ppt/slides/_rels/slide294.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notesSlide" Target="../notesSlides/notesSlide2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4.xml"/></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notesSlide" Target="../notesSlides/notesSlide2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5.xml"/></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notesSlide" Target="../notesSlides/notesSlide2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6.xml"/></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notesSlide" Target="../notesSlides/notesSlide2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7.xml"/></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notesSlide" Target="../notesSlides/notesSlide2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8.xml"/></Relationships>
</file>

<file path=ppt/slides/_rels/slide299.xml.rels><?xml version='1.0' encoding='UTF-8' standalone='yes'?>
<Relationships xmlns="http://schemas.openxmlformats.org/package/2006/relationships"><Relationship Id="rId1" Type="http://schemas.openxmlformats.org/officeDocument/2006/relationships/tags" Target="../tags/tag326.xml"/><Relationship Id="rId2" Type="http://schemas.openxmlformats.org/officeDocument/2006/relationships/slideLayout" Target="../slideLayouts/slideLayout7.xml"/><Relationship Id="rId3" Type="http://schemas.openxmlformats.org/officeDocument/2006/relationships/notesSlide" Target="../notesSlides/notesSlide2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00.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notesSlide" Target="../notesSlides/notesSlide3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0.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notesSlide" Target="../notesSlides/notesSlide3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notesSlide" Target="../notesSlides/notesSlide3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2.xml"/></Relationships>
</file>

<file path=ppt/slides/_rels/slide303.xml.rels><?xml version='1.0' encoding='UTF-8' standalone='yes'?>
<Relationships xmlns="http://schemas.openxmlformats.org/package/2006/relationships"><Relationship Id="rId1" Type="http://schemas.openxmlformats.org/officeDocument/2006/relationships/tags" Target="../tags/tag330.xml"/><Relationship Id="rId2" Type="http://schemas.openxmlformats.org/officeDocument/2006/relationships/slideLayout" Target="../slideLayouts/slideLayout7.xml"/><Relationship Id="rId3" Type="http://schemas.openxmlformats.org/officeDocument/2006/relationships/notesSlide" Target="../notesSlides/notesSlide3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3.xml"/></Relationships>
</file>

<file path=ppt/slides/_rels/slide304.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slideLayout" Target="../slideLayouts/slideLayout7.xml"/><Relationship Id="rId3" Type="http://schemas.openxmlformats.org/officeDocument/2006/relationships/notesSlide" Target="../notesSlides/notesSlide3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4.xml"/></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notesSlide" Target="../notesSlides/notesSlide3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5.xml"/></Relationships>
</file>

<file path=ppt/slides/_rels/slide306.xml.rels><?xml version='1.0' encoding='UTF-8' standalone='yes'?>
<Relationships xmlns="http://schemas.openxmlformats.org/package/2006/relationships"><Relationship Id="rId1" Type="http://schemas.openxmlformats.org/officeDocument/2006/relationships/tags" Target="../tags/tag333.xml"/><Relationship Id="rId2" Type="http://schemas.openxmlformats.org/officeDocument/2006/relationships/slideLayout" Target="../slideLayouts/slideLayout7.xml"/><Relationship Id="rId3" Type="http://schemas.openxmlformats.org/officeDocument/2006/relationships/notesSlide" Target="../notesSlides/notesSlide3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6.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notesSlide" Target="../notesSlides/notesSlide3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7.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notesSlide" Target="../notesSlides/notesSlide3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8.xml"/></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notesSlide" Target="../notesSlides/notesSlide3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10.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7.xml"/><Relationship Id="rId3" Type="http://schemas.openxmlformats.org/officeDocument/2006/relationships/notesSlide" Target="../notesSlides/notesSlide3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0.xml"/></Relationships>
</file>

<file path=ppt/slides/_rels/slide311.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notesSlide" Target="../notesSlides/notesSlide3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1.xml"/></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notesSlide" Target="../notesSlides/notesSlide3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2.xml"/></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notesSlide" Target="../notesSlides/notesSlide3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s>
</file>

<file path=ppt/slides/_rels/slide314.xml.rels><?xml version='1.0' encoding='UTF-8' standalone='yes'?>
<Relationships xmlns="http://schemas.openxmlformats.org/package/2006/relationships"><Relationship Id="rId1" Type="http://schemas.openxmlformats.org/officeDocument/2006/relationships/tags" Target="../tags/tag341.xml"/><Relationship Id="rId2" Type="http://schemas.openxmlformats.org/officeDocument/2006/relationships/slideLayout" Target="../slideLayouts/slideLayout7.xml"/><Relationship Id="rId3" Type="http://schemas.openxmlformats.org/officeDocument/2006/relationships/notesSlide" Target="../notesSlides/notesSlide3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4.xml"/></Relationships>
</file>

<file path=ppt/slides/_rels/slide315.xml.rels><?xml version='1.0' encoding='UTF-8' standalone='yes'?>
<Relationships xmlns="http://schemas.openxmlformats.org/package/2006/relationships"><Relationship Id="rId1" Type="http://schemas.openxmlformats.org/officeDocument/2006/relationships/tags" Target="../tags/tag342.xml"/><Relationship Id="rId2" Type="http://schemas.openxmlformats.org/officeDocument/2006/relationships/slideLayout" Target="../slideLayouts/slideLayout7.xml"/><Relationship Id="rId3" Type="http://schemas.openxmlformats.org/officeDocument/2006/relationships/notesSlide" Target="../notesSlides/notesSlide3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5.xml"/></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notesSlide" Target="../notesSlides/notesSlide3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6.xml"/></Relationships>
</file>

<file path=ppt/slides/_rels/slide317.xml.rels><?xml version='1.0' encoding='UTF-8' standalone='yes'?>
<Relationships xmlns="http://schemas.openxmlformats.org/package/2006/relationships"><Relationship Id="rId1" Type="http://schemas.openxmlformats.org/officeDocument/2006/relationships/tags" Target="../tags/tag344.xml"/><Relationship Id="rId2" Type="http://schemas.openxmlformats.org/officeDocument/2006/relationships/slideLayout" Target="../slideLayouts/slideLayout7.xml"/><Relationship Id="rId3" Type="http://schemas.openxmlformats.org/officeDocument/2006/relationships/notesSlide" Target="../notesSlides/notesSlide3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7.xml"/></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notesSlide" Target="../notesSlides/notesSlide3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8.xml"/></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notesSlide" Target="../notesSlides/notesSlide3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9.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notesSlide" Target="../notesSlides/notesSlide3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0.xml"/></Relationships>
</file>

<file path=ppt/slides/_rels/slide321.xml.rels><?xml version='1.0' encoding='UTF-8' standalone='yes'?>
<Relationships xmlns="http://schemas.openxmlformats.org/package/2006/relationships"><Relationship Id="rId1" Type="http://schemas.openxmlformats.org/officeDocument/2006/relationships/tags" Target="../tags/tag348.xml"/><Relationship Id="rId2" Type="http://schemas.openxmlformats.org/officeDocument/2006/relationships/slideLayout" Target="../slideLayouts/slideLayout7.xml"/><Relationship Id="rId3" Type="http://schemas.openxmlformats.org/officeDocument/2006/relationships/notesSlide" Target="../notesSlides/notesSlide3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1.xml"/></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notesSlide" Target="../notesSlides/notesSlide3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2.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notesSlide" Target="../notesSlides/notesSlide3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3.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notesSlide" Target="../notesSlides/notesSlide3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4.xml"/></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notesSlide" Target="../notesSlides/notesSlide3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notesSlide" Target="../notesSlides/notesSlide3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6.xml"/></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notesSlide" Target="../notesSlides/notesSlide3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7.xml"/></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notesSlide" Target="../notesSlides/notesSlide3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8.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notesSlide" Target="../notesSlides/notesSlide3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9.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notesSlide" Target="../notesSlides/notesSlide3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notesSlide" Target="../notesSlides/notesSlide3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s>
</file>

<file path=ppt/slides/_rels/slide332.xml.rels><?xml version='1.0' encoding='UTF-8' standalone='yes'?>
<Relationships xmlns="http://schemas.openxmlformats.org/package/2006/relationships"><Relationship Id="rId1" Type="http://schemas.openxmlformats.org/officeDocument/2006/relationships/tags" Target="../tags/tag359.xml"/><Relationship Id="rId2" Type="http://schemas.openxmlformats.org/officeDocument/2006/relationships/slideLayout" Target="../slideLayouts/slideLayout7.xml"/><Relationship Id="rId3" Type="http://schemas.openxmlformats.org/officeDocument/2006/relationships/notesSlide" Target="../notesSlides/notesSlide3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2.xml"/></Relationships>
</file>

<file path=ppt/slides/_rels/slide333.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notesSlide" Target="../notesSlides/notesSlide3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3.xml"/></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notesSlide" Target="../notesSlides/notesSlide3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4.xml"/></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notesSlide" Target="../notesSlides/notesSlide3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5.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notesSlide" Target="../notesSlides/notesSlide3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6.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notesSlide" Target="../notesSlides/notesSlide3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notesSlide" Target="../notesSlides/notesSlide3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8.xml"/></Relationships>
</file>

<file path=ppt/slides/_rels/slide339.xml.rels><?xml version='1.0' encoding='UTF-8' standalone='yes'?>
<Relationships xmlns="http://schemas.openxmlformats.org/package/2006/relationships"><Relationship Id="rId1" Type="http://schemas.openxmlformats.org/officeDocument/2006/relationships/tags" Target="../tags/tag366.xml"/><Relationship Id="rId2" Type="http://schemas.openxmlformats.org/officeDocument/2006/relationships/slideLayout" Target="../slideLayouts/slideLayout7.xml"/><Relationship Id="rId3" Type="http://schemas.openxmlformats.org/officeDocument/2006/relationships/notesSlide" Target="../notesSlides/notesSlide3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9.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notesSlide" Target="../notesSlides/notesSlide3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0.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notesSlide" Target="../notesSlides/notesSlide3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1.xml"/></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notesSlide" Target="../notesSlides/notesSlide3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2.xml"/></Relationships>
</file>

<file path=ppt/slides/_rels/slide343.xml.rels><?xml version='1.0' encoding='UTF-8' standalone='yes'?>
<Relationships xmlns="http://schemas.openxmlformats.org/package/2006/relationships"><Relationship Id="rId1" Type="http://schemas.openxmlformats.org/officeDocument/2006/relationships/tags" Target="../tags/tag370.xml"/><Relationship Id="rId2" Type="http://schemas.openxmlformats.org/officeDocument/2006/relationships/slideLayout" Target="../slideLayouts/slideLayout7.xml"/><Relationship Id="rId3" Type="http://schemas.openxmlformats.org/officeDocument/2006/relationships/notesSlide" Target="../notesSlides/notesSlide3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3.xml"/></Relationships>
</file>

<file path=ppt/slides/_rels/slide344.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notesSlide" Target="../notesSlides/notesSlide3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4.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notesSlide" Target="../notesSlides/notesSlide3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5.xml"/></Relationships>
</file>

<file path=ppt/slides/_rels/slide346.xml.rels><?xml version='1.0' encoding='UTF-8' standalone='yes'?>
<Relationships xmlns="http://schemas.openxmlformats.org/package/2006/relationships"><Relationship Id="rId1" Type="http://schemas.openxmlformats.org/officeDocument/2006/relationships/tags" Target="../tags/tag373.xml"/><Relationship Id="rId2" Type="http://schemas.openxmlformats.org/officeDocument/2006/relationships/slideLayout" Target="../slideLayouts/slideLayout7.xml"/><Relationship Id="rId3" Type="http://schemas.openxmlformats.org/officeDocument/2006/relationships/notesSlide" Target="../notesSlides/notesSlide3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6.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notesSlide" Target="../notesSlides/notesSlide3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7.xml"/></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notesSlide" Target="../notesSlides/notesSlide3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8.xml"/></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notesSlide" Target="../notesSlides/notesSlide3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notesSlide" Target="../notesSlides/notesSlide3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0.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notesSlide" Target="../notesSlides/notesSlide3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1.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notesSlide" Target="../notesSlides/notesSlide3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2.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notesSlide" Target="../notesSlides/notesSlide3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s>
</file>

<file path=ppt/slides/_rels/slide354.xml.rels><?xml version='1.0' encoding='UTF-8' standalone='yes'?>
<Relationships xmlns="http://schemas.openxmlformats.org/package/2006/relationships"><Relationship Id="rId1" Type="http://schemas.openxmlformats.org/officeDocument/2006/relationships/tags" Target="../tags/tag381.xml"/><Relationship Id="rId2" Type="http://schemas.openxmlformats.org/officeDocument/2006/relationships/slideLayout" Target="../slideLayouts/slideLayout7.xml"/><Relationship Id="rId3" Type="http://schemas.openxmlformats.org/officeDocument/2006/relationships/notesSlide" Target="../notesSlides/notesSlide3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4.xml"/></Relationships>
</file>

<file path=ppt/slides/_rels/slide355.xml.rels><?xml version='1.0' encoding='UTF-8' standalone='yes'?>
<Relationships xmlns="http://schemas.openxmlformats.org/package/2006/relationships"><Relationship Id="rId1" Type="http://schemas.openxmlformats.org/officeDocument/2006/relationships/tags" Target="../tags/tag382.xml"/><Relationship Id="rId2" Type="http://schemas.openxmlformats.org/officeDocument/2006/relationships/slideLayout" Target="../slideLayouts/slideLayout7.xml"/><Relationship Id="rId3" Type="http://schemas.openxmlformats.org/officeDocument/2006/relationships/notesSlide" Target="../notesSlides/notesSlide3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5.xml"/></Relationships>
</file>

<file path=ppt/slides/_rels/slide35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7.xml"/><Relationship Id="rId3" Type="http://schemas.openxmlformats.org/officeDocument/2006/relationships/notesSlide" Target="../notesSlides/notesSlide3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6.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notesSlide" Target="../notesSlides/notesSlide3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7.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notesSlide" Target="../notesSlides/notesSlide3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8.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notesSlide" Target="../notesSlides/notesSlide3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9.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notesSlide" Target="../notesSlides/notesSlide3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0.xml"/></Relationships>
</file>

<file path=ppt/slides/_rels/slide361.xml.rels><?xml version='1.0' encoding='UTF-8' standalone='yes'?>
<Relationships xmlns="http://schemas.openxmlformats.org/package/2006/relationships"><Relationship Id="rId1" Type="http://schemas.openxmlformats.org/officeDocument/2006/relationships/tags" Target="../tags/tag388.xml"/><Relationship Id="rId2" Type="http://schemas.openxmlformats.org/officeDocument/2006/relationships/slideLayout" Target="../slideLayouts/slideLayout7.xml"/><Relationship Id="rId3" Type="http://schemas.openxmlformats.org/officeDocument/2006/relationships/notesSlide" Target="../notesSlides/notesSlide3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notesSlide" Target="../notesSlides/notesSlide3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2.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notesSlide" Target="../notesSlides/notesSlide3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3.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notesSlide" Target="../notesSlides/notesSlide3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4.xml"/></Relationships>
</file>

<file path=ppt/slides/_rels/slide365.xml.rels><?xml version='1.0' encoding='UTF-8' standalone='yes'?>
<Relationships xmlns="http://schemas.openxmlformats.org/package/2006/relationships"><Relationship Id="rId1" Type="http://schemas.openxmlformats.org/officeDocument/2006/relationships/tags" Target="../tags/tag392.xml"/><Relationship Id="rId2" Type="http://schemas.openxmlformats.org/officeDocument/2006/relationships/slideLayout" Target="../slideLayouts/slideLayout7.xml"/><Relationship Id="rId3" Type="http://schemas.openxmlformats.org/officeDocument/2006/relationships/notesSlide" Target="../notesSlides/notesSlide3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5.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notesSlide" Target="../notesSlides/notesSlide3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6.xml"/></Relationships>
</file>

<file path=ppt/slides/_rels/slide367.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notesSlide" Target="../notesSlides/notesSlide3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7.xml"/></Relationships>
</file>

<file path=ppt/slides/_rels/slide368.xml.rels><?xml version='1.0' encoding='UTF-8' standalone='yes'?>
<Relationships xmlns="http://schemas.openxmlformats.org/package/2006/relationships"><Relationship Id="rId1" Type="http://schemas.openxmlformats.org/officeDocument/2006/relationships/tags" Target="../tags/tag395.xml"/><Relationship Id="rId2" Type="http://schemas.openxmlformats.org/officeDocument/2006/relationships/slideLayout" Target="../slideLayouts/slideLayout7.xml"/><Relationship Id="rId3" Type="http://schemas.openxmlformats.org/officeDocument/2006/relationships/notesSlide" Target="../notesSlides/notesSlide3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8.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notesSlide" Target="../notesSlides/notesSlide3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9.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notesSlide" Target="../notesSlides/notesSlide3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0.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notesSlide" Target="../notesSlides/notesSlide3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1.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notesSlide" Target="../notesSlides/notesSlide3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2.xml"/></Relationships>
</file>

<file path=ppt/slides/_rels/slide373.xml.rels><?xml version='1.0' encoding='UTF-8' standalone='yes'?>
<Relationships xmlns="http://schemas.openxmlformats.org/package/2006/relationships"><Relationship Id="rId1" Type="http://schemas.openxmlformats.org/officeDocument/2006/relationships/tags" Target="../tags/tag400.xml"/><Relationship Id="rId2" Type="http://schemas.openxmlformats.org/officeDocument/2006/relationships/slideLayout" Target="../slideLayouts/slideLayout7.xml"/><Relationship Id="rId3" Type="http://schemas.openxmlformats.org/officeDocument/2006/relationships/notesSlide" Target="../notesSlides/notesSlide3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notesSlide" Target="../notesSlides/notesSlide3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4.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notesSlide" Target="../notesSlides/notesSlide3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5.xml"/></Relationships>
</file>

<file path=ppt/slides/_rels/slide376.xml.rels><?xml version='1.0' encoding='UTF-8' standalone='yes'?>
<Relationships xmlns="http://schemas.openxmlformats.org/package/2006/relationships"><Relationship Id="rId1" Type="http://schemas.openxmlformats.org/officeDocument/2006/relationships/tags" Target="../tags/tag403.xml"/><Relationship Id="rId2" Type="http://schemas.openxmlformats.org/officeDocument/2006/relationships/slideLayout" Target="../slideLayouts/slideLayout7.xml"/><Relationship Id="rId3" Type="http://schemas.openxmlformats.org/officeDocument/2006/relationships/notesSlide" Target="../notesSlides/notesSlide3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6.xml"/></Relationships>
</file>

<file path=ppt/slides/_rels/slide377.xml.rels><?xml version='1.0' encoding='UTF-8' standalone='yes'?>
<Relationships xmlns="http://schemas.openxmlformats.org/package/2006/relationships"><Relationship Id="rId1" Type="http://schemas.openxmlformats.org/officeDocument/2006/relationships/tags" Target="../tags/tag404.xml"/><Relationship Id="rId2" Type="http://schemas.openxmlformats.org/officeDocument/2006/relationships/slideLayout" Target="../slideLayouts/slideLayout7.xml"/><Relationship Id="rId3" Type="http://schemas.openxmlformats.org/officeDocument/2006/relationships/notesSlide" Target="../notesSlides/notesSlide3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7.xml"/></Relationships>
</file>

<file path=ppt/slides/_rels/slide378.xml.rels><?xml version='1.0' encoding='UTF-8' standalone='yes'?>
<Relationships xmlns="http://schemas.openxmlformats.org/package/2006/relationships"><Relationship Id="rId1" Type="http://schemas.openxmlformats.org/officeDocument/2006/relationships/tags" Target="../tags/tag405.xml"/><Relationship Id="rId2" Type="http://schemas.openxmlformats.org/officeDocument/2006/relationships/slideLayout" Target="../slideLayouts/slideLayout7.xml"/><Relationship Id="rId3" Type="http://schemas.openxmlformats.org/officeDocument/2006/relationships/notesSlide" Target="../notesSlides/notesSlide3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8.xml"/></Relationships>
</file>

<file path=ppt/slides/_rels/slide379.xml.rels><?xml version='1.0' encoding='UTF-8' standalone='yes'?>
<Relationships xmlns="http://schemas.openxmlformats.org/package/2006/relationships"><Relationship Id="rId1" Type="http://schemas.openxmlformats.org/officeDocument/2006/relationships/tags" Target="../tags/tag406.xml"/><Relationship Id="rId2" Type="http://schemas.openxmlformats.org/officeDocument/2006/relationships/slideLayout" Target="../slideLayouts/slideLayout7.xml"/><Relationship Id="rId3" Type="http://schemas.openxmlformats.org/officeDocument/2006/relationships/notesSlide" Target="../notesSlides/notesSlide3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9.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notesSlide" Target="../notesSlides/notesSlide3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0.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notesSlide" Target="../notesSlides/notesSlide3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1.xml"/></Relationships>
</file>

<file path=ppt/slides/_rels/slide382.xml.rels><?xml version='1.0' encoding='UTF-8' standalone='yes'?>
<Relationships xmlns="http://schemas.openxmlformats.org/package/2006/relationships"><Relationship Id="rId1" Type="http://schemas.openxmlformats.org/officeDocument/2006/relationships/tags" Target="../tags/tag409.xml"/><Relationship Id="rId2" Type="http://schemas.openxmlformats.org/officeDocument/2006/relationships/slideLayout" Target="../slideLayouts/slideLayout7.xml"/><Relationship Id="rId3" Type="http://schemas.openxmlformats.org/officeDocument/2006/relationships/notesSlide" Target="../notesSlides/notesSlide3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2.xml"/></Relationships>
</file>

<file path=ppt/slides/_rels/slide383.xml.rels><?xml version='1.0' encoding='UTF-8' standalone='yes'?>
<Relationships xmlns="http://schemas.openxmlformats.org/package/2006/relationships"><Relationship Id="rId1" Type="http://schemas.openxmlformats.org/officeDocument/2006/relationships/tags" Target="../tags/tag410.xml"/><Relationship Id="rId2" Type="http://schemas.openxmlformats.org/officeDocument/2006/relationships/slideLayout" Target="../slideLayouts/slideLayout7.xml"/><Relationship Id="rId3" Type="http://schemas.openxmlformats.org/officeDocument/2006/relationships/notesSlide" Target="../notesSlides/notesSlide3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3.xml"/></Relationships>
</file>

<file path=ppt/slides/_rels/slide384.xml.rels><?xml version='1.0' encoding='UTF-8' standalone='yes'?>
<Relationships xmlns="http://schemas.openxmlformats.org/package/2006/relationships"><Relationship Id="rId1" Type="http://schemas.openxmlformats.org/officeDocument/2006/relationships/tags" Target="../tags/tag411.xml"/><Relationship Id="rId2" Type="http://schemas.openxmlformats.org/officeDocument/2006/relationships/slideLayout" Target="../slideLayouts/slideLayout7.xml"/><Relationship Id="rId3" Type="http://schemas.openxmlformats.org/officeDocument/2006/relationships/notesSlide" Target="../notesSlides/notesSlide3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4.xml"/></Relationships>
</file>

<file path=ppt/slides/_rels/slide385.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notesSlide" Target="../notesSlides/notesSlide3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s>
</file>

<file path=ppt/slides/_rels/slide386.xml.rels><?xml version='1.0' encoding='UTF-8' standalone='yes'?>
<Relationships xmlns="http://schemas.openxmlformats.org/package/2006/relationships"><Relationship Id="rId1" Type="http://schemas.openxmlformats.org/officeDocument/2006/relationships/tags" Target="../tags/tag413.xml"/><Relationship Id="rId2" Type="http://schemas.openxmlformats.org/officeDocument/2006/relationships/slideLayout" Target="../slideLayouts/slideLayout7.xml"/><Relationship Id="rId3" Type="http://schemas.openxmlformats.org/officeDocument/2006/relationships/notesSlide" Target="../notesSlides/notesSlide3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6.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notesSlide" Target="../notesSlides/notesSlide3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7.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notesSlide" Target="../notesSlides/notesSlide3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8.xml"/></Relationships>
</file>

<file path=ppt/slides/_rels/slide389.xml.rels><?xml version='1.0' encoding='UTF-8' standalone='yes'?>
<Relationships xmlns="http://schemas.openxmlformats.org/package/2006/relationships"><Relationship Id="rId1" Type="http://schemas.openxmlformats.org/officeDocument/2006/relationships/tags" Target="../tags/tag416.xml"/><Relationship Id="rId2" Type="http://schemas.openxmlformats.org/officeDocument/2006/relationships/slideLayout" Target="../slideLayouts/slideLayout7.xml"/><Relationship Id="rId3" Type="http://schemas.openxmlformats.org/officeDocument/2006/relationships/notesSlide" Target="../notesSlides/notesSlide3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9.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390.xml.rels><?xml version='1.0' encoding='UTF-8' standalone='yes'?>
<Relationships xmlns="http://schemas.openxmlformats.org/package/2006/relationships"><Relationship Id="rId1" Type="http://schemas.openxmlformats.org/officeDocument/2006/relationships/tags" Target="../tags/tag417.xml"/><Relationship Id="rId2" Type="http://schemas.openxmlformats.org/officeDocument/2006/relationships/slideLayout" Target="../slideLayouts/slideLayout7.xml"/><Relationship Id="rId3" Type="http://schemas.openxmlformats.org/officeDocument/2006/relationships/notesSlide" Target="../notesSlides/notesSlide3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0.xml"/></Relationships>
</file>

<file path=ppt/slides/_rels/slide391.xml.rels><?xml version='1.0' encoding='UTF-8' standalone='yes'?>
<Relationships xmlns="http://schemas.openxmlformats.org/package/2006/relationships"><Relationship Id="rId1" Type="http://schemas.openxmlformats.org/officeDocument/2006/relationships/tags" Target="../tags/tag418.xml"/><Relationship Id="rId2" Type="http://schemas.openxmlformats.org/officeDocument/2006/relationships/slideLayout" Target="../slideLayouts/slideLayout7.xml"/><Relationship Id="rId3" Type="http://schemas.openxmlformats.org/officeDocument/2006/relationships/notesSlide" Target="../notesSlides/notesSlide3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1.xml"/></Relationships>
</file>

<file path=ppt/slides/_rels/slide392.xml.rels><?xml version='1.0' encoding='UTF-8' standalone='yes'?>
<Relationships xmlns="http://schemas.openxmlformats.org/package/2006/relationships"><Relationship Id="rId1" Type="http://schemas.openxmlformats.org/officeDocument/2006/relationships/tags" Target="../tags/tag419.xml"/><Relationship Id="rId2" Type="http://schemas.openxmlformats.org/officeDocument/2006/relationships/slideLayout" Target="../slideLayouts/slideLayout7.xml"/><Relationship Id="rId3" Type="http://schemas.openxmlformats.org/officeDocument/2006/relationships/notesSlide" Target="../notesSlides/notesSlide3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7%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5.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748351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545630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5615041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5.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7727690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0% | -8.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807784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8019383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669345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3406854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807976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5533449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 | -7.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988274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95433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430087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268658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2% | -7.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6574351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0234852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7072512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104060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439668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649511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8818578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186704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7%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269094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1748689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1825655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3775427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3167732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3832749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417892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2856420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588262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0877849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8%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3311007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823615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5057748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772878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9%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502693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4210756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4143036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991958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3%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6170634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6425153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468480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5118624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563387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1% | -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7%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3794912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6042661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3981879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383806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9271238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1282300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9267127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9204480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6495880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9815894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9%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24798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5%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5937966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3790731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1759869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6255283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0812821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4988638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8485335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4353846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0157075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1485609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56337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175392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5056766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974696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5078803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6033723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395231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4291153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349006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2105357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2269240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321868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2%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9859401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8046631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737027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6360088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334376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4284338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43836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0358478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9%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3825108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eauty Care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09725297"/>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60571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1770132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9754126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awaiian Tropic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1905363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Banana Boat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4805668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0%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6338085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1075826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4780052"/>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7645934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9501302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6926170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7%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041095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7019751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0394922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339589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9469931"/>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3566873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7881629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518887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3010842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044569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8%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50029280"/>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603310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7%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6%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6% | +5.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23497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4001479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9667878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9%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023852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02501569"/>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1040878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12688767"/>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3%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758049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2216361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7361644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0120791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712891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7.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4621137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7217387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2411125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5%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5655133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537472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8313262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5006677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8265071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8798978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18566421"/>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9%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858426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2233111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0500937"/>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0844888"/>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987920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71733224"/>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5868177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46049944"/>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97167147"/>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69002738"/>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42512121"/>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99890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4%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502745"/>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4060469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234385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7144484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1141834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533643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403356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66150594"/>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9833181"/>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98077754"/>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784871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54579291"/>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007676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5308942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5134209"/>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2246851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6520029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1505834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9942347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9%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2459001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eauty Care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5921269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51965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43592940"/>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4908773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awaiian Tropic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16791807"/>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Banana Boat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7182124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6%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8236184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39186212"/>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044457"/>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17507104"/>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9652098"/>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0480330"/>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75014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7% | -7.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3%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4293792"/>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4023753"/>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62166127"/>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1%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9% | +5.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6604009"/>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02730144"/>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75283128"/>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52019637"/>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78604666"/>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0113053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8%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00545527"/>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345050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8.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6243603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1707782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1%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6%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89167241"/>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74952919"/>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Edgewell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5260538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612741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36768565"/>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68028986"/>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2377740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88077565"/>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064200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6211768"/>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21819572"/>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20176259"/>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50696323"/>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691796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0390539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84817559"/>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1473381"/>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19377293"/>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62373698"/>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890868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7%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5.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67213556"/>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8597592"/>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11971231"/>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59784988"/>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62905536"/>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73920948"/>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4%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38904946"/>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7696568"/>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6184362"/>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17280945"/>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35506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253607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7%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6%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6% | +5.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00175432"/>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59983806"/>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37663160"/>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61026373"/>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55404613"/>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40380719"/>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95407345"/>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3655427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3854114"/>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2367557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45081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4%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10604892"/>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25854647"/>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82120850"/>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60545900"/>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79057040"/>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40725073"/>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05630730"/>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2822233"/>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9967516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eauty Care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90491660"/>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659012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174591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0316816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Hawaiian Tropic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24720524"/>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Category | Banana Boat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61848737"/>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6%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03792190"/>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36016643"/>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47914253"/>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27193463"/>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18967046"/>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67726678"/>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243899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9%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7.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50008652"/>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88234542"/>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27637144"/>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1%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9% | +5.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73739714"/>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83646744"/>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0717051"/>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51604471"/>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0799764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3187962"/>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8%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29133607"/>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217331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7%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9%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45988719"/>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7356169"/>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1%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6%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81872039"/>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98575233"/>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Edgewell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56910243"/>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60165461"/>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75084321"/>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4586046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1845541"/>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63208254"/>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150815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1% | -9.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6%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8.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9263004"/>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94279557"/>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59996819"/>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9383514"/>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Sou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29962187"/>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90369477"/>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Sou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14444069"/>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36652586"/>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Sou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8715205"/>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79793723"/>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588581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9038387"/>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North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11582467"/>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61206198"/>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North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89635005"/>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61092734"/>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North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6827988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4%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1591605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02041483"/>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Southea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17336523"/>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81376876"/>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Southea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31877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5.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53680216"/>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9132969"/>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Southea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96122156"/>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46882386"/>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8966965"/>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Bajío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7073102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98193599"/>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Bajío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286417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31860176"/>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Bajío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84831019"/>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46647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2539908"/>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9605534"/>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West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6260941"/>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6525526"/>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West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01565727"/>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15668131"/>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West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60383085"/>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8%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48225900"/>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13090497"/>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eauty Care vs. Competition | P12M | Autos Scanning Center | Sunscreen Adult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99361686"/>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891438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31484206"/>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Center | Sunscreen Baby</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75822605"/>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Hawaiian Tropic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7530290"/>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Category</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Category | Banana Boat vs. Competition | P12M | Autos Scanning Center | Sunscreen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pray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No Spray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Category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Category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429991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596426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953983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 Sou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660526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1% | -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7%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509030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5%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30199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 North</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133342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2%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671006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699330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 Southea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386881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692035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7.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1385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9%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7.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334589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 Bají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668791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4%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65508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5%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220464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08357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7% | -7.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3%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29359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8.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429322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76020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 | -9.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3306753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 | -1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432254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 | -6.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602670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 W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7%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9%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0578615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0% | -1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248196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101113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261623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1%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9.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0267053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59942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0% | -7.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8205213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361215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34434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4% | -7.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015460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2108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 Cente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1% | -9.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6%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8.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0249502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653621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13174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384435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5.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0463238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5%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0% | -8.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74209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5004352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4398803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34096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3456458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581075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6341299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 | -7.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3093592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62320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361663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2% | -7.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7823256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3312947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 | -9.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8969264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 | -1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3633685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2%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 | -6.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334838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Southea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8%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0% | -1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1560272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Bají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13001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Tanning</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fter Su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anded Pa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5.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749078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West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9%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9961558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Center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1%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 | -9.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864707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499393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0% | -7.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3957317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6972298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2430107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4% | -7.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8288934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Sou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3531899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6855972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North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dul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Bab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85193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TotalTime>
  <Words>38808</Words>
  <Application>Microsoft Office PowerPoint</Application>
  <PresentationFormat>On-screen Show (16:9)</PresentationFormat>
  <Paragraphs>8232</Paragraphs>
  <Slides>392</Slides>
  <Notes>39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92</vt:i4>
      </vt:variant>
    </vt:vector>
  </HeadingPairs>
  <TitlesOfParts>
    <vt:vector size="40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7-06T10:31: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